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notesSlides/notesSlide5.xml" ContentType="application/vnd.openxmlformats-officedocument.presentationml.notesSlide+xml"/>
  <Override PartName="/ppt/tags/tag18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190.xml" ContentType="application/vnd.openxmlformats-officedocument.presentationml.tags+xml"/>
  <Override PartName="/ppt/notesSlides/notesSlide7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9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3.xml" ContentType="application/vnd.openxmlformats-officedocument.drawingml.chart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34.xml" ContentType="application/vnd.openxmlformats-officedocument.drawingml.chart+xml"/>
  <Override PartName="/ppt/tags/tag210.xml" ContentType="application/vnd.openxmlformats-officedocument.presentationml.tags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792" r:id="rId5"/>
    <p:sldMasterId id="2147483809" r:id="rId6"/>
    <p:sldMasterId id="2147483825" r:id="rId7"/>
    <p:sldMasterId id="2147483834" r:id="rId8"/>
  </p:sldMasterIdLst>
  <p:notesMasterIdLst>
    <p:notesMasterId r:id="rId46"/>
  </p:notesMasterIdLst>
  <p:sldIdLst>
    <p:sldId id="1751" r:id="rId9"/>
    <p:sldId id="1801" r:id="rId10"/>
    <p:sldId id="1897" r:id="rId11"/>
    <p:sldId id="1768" r:id="rId12"/>
    <p:sldId id="1910" r:id="rId13"/>
    <p:sldId id="1911" r:id="rId14"/>
    <p:sldId id="1832" r:id="rId15"/>
    <p:sldId id="1882" r:id="rId16"/>
    <p:sldId id="1833" r:id="rId17"/>
    <p:sldId id="1820" r:id="rId18"/>
    <p:sldId id="1822" r:id="rId19"/>
    <p:sldId id="1912" r:id="rId20"/>
    <p:sldId id="1913" r:id="rId21"/>
    <p:sldId id="1824" r:id="rId22"/>
    <p:sldId id="1843" r:id="rId23"/>
    <p:sldId id="1901" r:id="rId24"/>
    <p:sldId id="1902" r:id="rId25"/>
    <p:sldId id="1903" r:id="rId26"/>
    <p:sldId id="1760" r:id="rId27"/>
    <p:sldId id="1845" r:id="rId28"/>
    <p:sldId id="1890" r:id="rId29"/>
    <p:sldId id="1891" r:id="rId30"/>
    <p:sldId id="1769" r:id="rId31"/>
    <p:sldId id="1835" r:id="rId32"/>
    <p:sldId id="1872" r:id="rId33"/>
    <p:sldId id="1873" r:id="rId34"/>
    <p:sldId id="1898" r:id="rId35"/>
    <p:sldId id="1899" r:id="rId36"/>
    <p:sldId id="1914" r:id="rId37"/>
    <p:sldId id="1803" r:id="rId38"/>
    <p:sldId id="1406" r:id="rId39"/>
    <p:sldId id="1900" r:id="rId40"/>
    <p:sldId id="1416" r:id="rId41"/>
    <p:sldId id="1417" r:id="rId42"/>
    <p:sldId id="1727" r:id="rId43"/>
    <p:sldId id="1828" r:id="rId44"/>
    <p:sldId id="1883" r:id="rId45"/>
  </p:sldIdLst>
  <p:sldSz cx="12192000" cy="6858000"/>
  <p:notesSz cx="6858000" cy="9144000"/>
  <p:embeddedFontLst>
    <p:embeddedFont>
      <p:font typeface="Calibri Light" panose="020F0302020204030204" pitchFamily="34" charset="0"/>
      <p:regular r:id="rId47"/>
      <p:italic r:id="rId48"/>
    </p:embeddedFont>
    <p:embeddedFont>
      <p:font typeface="Calibri" panose="020F0502020204030204" pitchFamily="34" charset="0"/>
      <p:regular r:id="rId49"/>
      <p:bold r:id="rId50"/>
      <p:italic r:id="rId51"/>
      <p:boldItalic r:id="rId52"/>
    </p:embeddedFont>
  </p:embeddedFontLst>
  <p:custDataLst>
    <p:tags r:id="rId5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D0CCCE"/>
    <a:srgbClr val="D31145"/>
    <a:srgbClr val="00FF00"/>
    <a:srgbClr val="993A3A"/>
    <a:srgbClr val="666363"/>
    <a:srgbClr val="305983"/>
    <a:srgbClr val="4CB9FC"/>
    <a:srgbClr val="00B0F0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60" autoAdjust="0"/>
    <p:restoredTop sz="96327" autoAdjust="0"/>
  </p:normalViewPr>
  <p:slideViewPr>
    <p:cSldViewPr snapToGrid="0">
      <p:cViewPr varScale="1">
        <p:scale>
          <a:sx n="107" d="100"/>
          <a:sy n="107" d="100"/>
        </p:scale>
        <p:origin x="348" y="11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font" Target="fonts/font1.fntdata"/><Relationship Id="rId50" Type="http://schemas.openxmlformats.org/officeDocument/2006/relationships/font" Target="fonts/font4.fntdata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3.fntdata"/><Relationship Id="rId57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font" Target="fonts/font6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font" Target="fonts/font2.fntdata"/><Relationship Id="rId56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font" Target="fonts/font5.fntdata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33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4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0811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09</c:v>
                </c:pt>
                <c:pt idx="1">
                  <c:v>44210</c:v>
                </c:pt>
                <c:pt idx="2">
                  <c:v>44211</c:v>
                </c:pt>
                <c:pt idx="3">
                  <c:v>44212</c:v>
                </c:pt>
                <c:pt idx="4">
                  <c:v>44213</c:v>
                </c:pt>
                <c:pt idx="5">
                  <c:v>44214</c:v>
                </c:pt>
                <c:pt idx="6">
                  <c:v>44215</c:v>
                </c:pt>
                <c:pt idx="7">
                  <c:v>44216</c:v>
                </c:pt>
                <c:pt idx="8">
                  <c:v>44217</c:v>
                </c:pt>
                <c:pt idx="9">
                  <c:v>44218</c:v>
                </c:pt>
                <c:pt idx="10">
                  <c:v>44219</c:v>
                </c:pt>
                <c:pt idx="11">
                  <c:v>44220</c:v>
                </c:pt>
                <c:pt idx="12">
                  <c:v>44221</c:v>
                </c:pt>
                <c:pt idx="13">
                  <c:v>44222</c:v>
                </c:pt>
                <c:pt idx="14">
                  <c:v>44223</c:v>
                </c:pt>
                <c:pt idx="15">
                  <c:v>44224</c:v>
                </c:pt>
                <c:pt idx="16">
                  <c:v>44225</c:v>
                </c:pt>
                <c:pt idx="17">
                  <c:v>44226</c:v>
                </c:pt>
                <c:pt idx="18">
                  <c:v>44227</c:v>
                </c:pt>
                <c:pt idx="19">
                  <c:v>44228</c:v>
                </c:pt>
                <c:pt idx="20">
                  <c:v>44229</c:v>
                </c:pt>
                <c:pt idx="21">
                  <c:v>44230</c:v>
                </c:pt>
                <c:pt idx="22">
                  <c:v>44231</c:v>
                </c:pt>
                <c:pt idx="23">
                  <c:v>44232</c:v>
                </c:pt>
                <c:pt idx="24">
                  <c:v>44233</c:v>
                </c:pt>
                <c:pt idx="25">
                  <c:v>44234</c:v>
                </c:pt>
                <c:pt idx="26">
                  <c:v>44235</c:v>
                </c:pt>
                <c:pt idx="27">
                  <c:v>44236</c:v>
                </c:pt>
                <c:pt idx="28">
                  <c:v>44237</c:v>
                </c:pt>
                <c:pt idx="29">
                  <c:v>44238</c:v>
                </c:pt>
                <c:pt idx="30">
                  <c:v>44239</c:v>
                </c:pt>
                <c:pt idx="31">
                  <c:v>44240</c:v>
                </c:pt>
                <c:pt idx="32">
                  <c:v>44241</c:v>
                </c:pt>
                <c:pt idx="33">
                  <c:v>44242</c:v>
                </c:pt>
                <c:pt idx="34">
                  <c:v>44243</c:v>
                </c:pt>
                <c:pt idx="35">
                  <c:v>44244</c:v>
                </c:pt>
                <c:pt idx="36">
                  <c:v>44245</c:v>
                </c:pt>
                <c:pt idx="37">
                  <c:v>44246</c:v>
                </c:pt>
                <c:pt idx="38">
                  <c:v>44247</c:v>
                </c:pt>
                <c:pt idx="39">
                  <c:v>44248</c:v>
                </c:pt>
                <c:pt idx="40">
                  <c:v>44249</c:v>
                </c:pt>
                <c:pt idx="41">
                  <c:v>44250</c:v>
                </c:pt>
                <c:pt idx="42">
                  <c:v>44251</c:v>
                </c:pt>
                <c:pt idx="43">
                  <c:v>44252</c:v>
                </c:pt>
                <c:pt idx="44">
                  <c:v>44253</c:v>
                </c:pt>
                <c:pt idx="45">
                  <c:v>44254</c:v>
                </c:pt>
                <c:pt idx="46">
                  <c:v>44255</c:v>
                </c:pt>
                <c:pt idx="47">
                  <c:v>44256</c:v>
                </c:pt>
                <c:pt idx="48">
                  <c:v>44257</c:v>
                </c:pt>
                <c:pt idx="49">
                  <c:v>44258</c:v>
                </c:pt>
                <c:pt idx="50">
                  <c:v>44259</c:v>
                </c:pt>
                <c:pt idx="51">
                  <c:v>44260</c:v>
                </c:pt>
                <c:pt idx="52">
                  <c:v>44261</c:v>
                </c:pt>
                <c:pt idx="53">
                  <c:v>44262</c:v>
                </c:pt>
                <c:pt idx="54">
                  <c:v>44263</c:v>
                </c:pt>
                <c:pt idx="55">
                  <c:v>44264</c:v>
                </c:pt>
                <c:pt idx="56">
                  <c:v>44265</c:v>
                </c:pt>
                <c:pt idx="57">
                  <c:v>44266</c:v>
                </c:pt>
                <c:pt idx="58">
                  <c:v>44267</c:v>
                </c:pt>
                <c:pt idx="59">
                  <c:v>44268</c:v>
                </c:pt>
                <c:pt idx="60">
                  <c:v>44269</c:v>
                </c:pt>
                <c:pt idx="61">
                  <c:v>44270</c:v>
                </c:pt>
                <c:pt idx="62">
                  <c:v>44271</c:v>
                </c:pt>
                <c:pt idx="63">
                  <c:v>44272</c:v>
                </c:pt>
                <c:pt idx="64">
                  <c:v>44273</c:v>
                </c:pt>
                <c:pt idx="65">
                  <c:v>44274</c:v>
                </c:pt>
                <c:pt idx="66">
                  <c:v>44275</c:v>
                </c:pt>
                <c:pt idx="67">
                  <c:v>44276</c:v>
                </c:pt>
                <c:pt idx="68">
                  <c:v>44277</c:v>
                </c:pt>
                <c:pt idx="69">
                  <c:v>44278</c:v>
                </c:pt>
                <c:pt idx="70">
                  <c:v>44279</c:v>
                </c:pt>
                <c:pt idx="71">
                  <c:v>44280</c:v>
                </c:pt>
                <c:pt idx="72">
                  <c:v>44281</c:v>
                </c:pt>
                <c:pt idx="73">
                  <c:v>44282</c:v>
                </c:pt>
                <c:pt idx="74">
                  <c:v>44283</c:v>
                </c:pt>
                <c:pt idx="75">
                  <c:v>44284</c:v>
                </c:pt>
                <c:pt idx="76">
                  <c:v>44285</c:v>
                </c:pt>
                <c:pt idx="77">
                  <c:v>44286</c:v>
                </c:pt>
                <c:pt idx="78">
                  <c:v>44287</c:v>
                </c:pt>
                <c:pt idx="79">
                  <c:v>44288</c:v>
                </c:pt>
                <c:pt idx="80">
                  <c:v>44289</c:v>
                </c:pt>
                <c:pt idx="81">
                  <c:v>44290</c:v>
                </c:pt>
                <c:pt idx="82">
                  <c:v>44291</c:v>
                </c:pt>
                <c:pt idx="83">
                  <c:v>44292</c:v>
                </c:pt>
                <c:pt idx="84">
                  <c:v>44293</c:v>
                </c:pt>
                <c:pt idx="85">
                  <c:v>44294</c:v>
                </c:pt>
                <c:pt idx="86">
                  <c:v>44295</c:v>
                </c:pt>
                <c:pt idx="87">
                  <c:v>44296</c:v>
                </c:pt>
                <c:pt idx="88">
                  <c:v>44297</c:v>
                </c:pt>
                <c:pt idx="89">
                  <c:v>44298</c:v>
                </c:pt>
                <c:pt idx="90">
                  <c:v>44299</c:v>
                </c:pt>
                <c:pt idx="91">
                  <c:v>44300</c:v>
                </c:pt>
                <c:pt idx="92">
                  <c:v>44301</c:v>
                </c:pt>
                <c:pt idx="93">
                  <c:v>44302</c:v>
                </c:pt>
                <c:pt idx="94">
                  <c:v>44303</c:v>
                </c:pt>
                <c:pt idx="95">
                  <c:v>44304</c:v>
                </c:pt>
                <c:pt idx="96">
                  <c:v>44305</c:v>
                </c:pt>
                <c:pt idx="97">
                  <c:v>44306</c:v>
                </c:pt>
                <c:pt idx="98">
                  <c:v>44307</c:v>
                </c:pt>
                <c:pt idx="99">
                  <c:v>44308</c:v>
                </c:pt>
                <c:pt idx="100">
                  <c:v>44309</c:v>
                </c:pt>
                <c:pt idx="101">
                  <c:v>44310</c:v>
                </c:pt>
                <c:pt idx="102">
                  <c:v>44311</c:v>
                </c:pt>
                <c:pt idx="103">
                  <c:v>44312</c:v>
                </c:pt>
                <c:pt idx="104">
                  <c:v>44313</c:v>
                </c:pt>
                <c:pt idx="105">
                  <c:v>44314</c:v>
                </c:pt>
                <c:pt idx="106">
                  <c:v>44315</c:v>
                </c:pt>
                <c:pt idx="107">
                  <c:v>44316</c:v>
                </c:pt>
                <c:pt idx="108">
                  <c:v>44317</c:v>
                </c:pt>
                <c:pt idx="109">
                  <c:v>44318</c:v>
                </c:pt>
                <c:pt idx="110">
                  <c:v>44319</c:v>
                </c:pt>
                <c:pt idx="111">
                  <c:v>44320</c:v>
                </c:pt>
                <c:pt idx="112">
                  <c:v>44321</c:v>
                </c:pt>
                <c:pt idx="113">
                  <c:v>44322</c:v>
                </c:pt>
                <c:pt idx="114">
                  <c:v>44323</c:v>
                </c:pt>
                <c:pt idx="115">
                  <c:v>44324</c:v>
                </c:pt>
                <c:pt idx="116">
                  <c:v>44325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0920</c:v>
                </c:pt>
                <c:pt idx="1">
                  <c:v>8088</c:v>
                </c:pt>
                <c:pt idx="2">
                  <c:v>9301</c:v>
                </c:pt>
                <c:pt idx="3">
                  <c:v>5242</c:v>
                </c:pt>
                <c:pt idx="4">
                  <c:v>2641</c:v>
                </c:pt>
                <c:pt idx="5">
                  <c:v>7668</c:v>
                </c:pt>
                <c:pt idx="6">
                  <c:v>9610</c:v>
                </c:pt>
                <c:pt idx="7">
                  <c:v>8215</c:v>
                </c:pt>
                <c:pt idx="8">
                  <c:v>7534</c:v>
                </c:pt>
                <c:pt idx="9">
                  <c:v>8468</c:v>
                </c:pt>
                <c:pt idx="10">
                  <c:v>4239</c:v>
                </c:pt>
                <c:pt idx="11">
                  <c:v>2394</c:v>
                </c:pt>
                <c:pt idx="12">
                  <c:v>6974</c:v>
                </c:pt>
                <c:pt idx="13">
                  <c:v>9195</c:v>
                </c:pt>
                <c:pt idx="14">
                  <c:v>8504</c:v>
                </c:pt>
                <c:pt idx="15">
                  <c:v>8010</c:v>
                </c:pt>
                <c:pt idx="16">
                  <c:v>8053</c:v>
                </c:pt>
                <c:pt idx="17">
                  <c:v>4055</c:v>
                </c:pt>
                <c:pt idx="18">
                  <c:v>2573</c:v>
                </c:pt>
                <c:pt idx="19">
                  <c:v>7217</c:v>
                </c:pt>
                <c:pt idx="20">
                  <c:v>9148</c:v>
                </c:pt>
                <c:pt idx="21">
                  <c:v>9667</c:v>
                </c:pt>
                <c:pt idx="22">
                  <c:v>8107</c:v>
                </c:pt>
                <c:pt idx="23">
                  <c:v>8622</c:v>
                </c:pt>
                <c:pt idx="24">
                  <c:v>4820</c:v>
                </c:pt>
                <c:pt idx="25">
                  <c:v>2451</c:v>
                </c:pt>
                <c:pt idx="26">
                  <c:v>7777</c:v>
                </c:pt>
                <c:pt idx="27">
                  <c:v>10283</c:v>
                </c:pt>
                <c:pt idx="28">
                  <c:v>9538</c:v>
                </c:pt>
                <c:pt idx="29">
                  <c:v>9018</c:v>
                </c:pt>
                <c:pt idx="30">
                  <c:v>8830</c:v>
                </c:pt>
                <c:pt idx="31">
                  <c:v>5141</c:v>
                </c:pt>
                <c:pt idx="32">
                  <c:v>2880</c:v>
                </c:pt>
                <c:pt idx="33">
                  <c:v>8905</c:v>
                </c:pt>
                <c:pt idx="34">
                  <c:v>12608</c:v>
                </c:pt>
                <c:pt idx="35">
                  <c:v>10939</c:v>
                </c:pt>
                <c:pt idx="36">
                  <c:v>11704</c:v>
                </c:pt>
                <c:pt idx="37">
                  <c:v>11288</c:v>
                </c:pt>
                <c:pt idx="38">
                  <c:v>6775</c:v>
                </c:pt>
                <c:pt idx="39">
                  <c:v>4068</c:v>
                </c:pt>
                <c:pt idx="40">
                  <c:v>11410</c:v>
                </c:pt>
                <c:pt idx="41">
                  <c:v>15840</c:v>
                </c:pt>
                <c:pt idx="42">
                  <c:v>13796</c:v>
                </c:pt>
                <c:pt idx="43">
                  <c:v>14588</c:v>
                </c:pt>
                <c:pt idx="44">
                  <c:v>14775</c:v>
                </c:pt>
                <c:pt idx="45">
                  <c:v>7824</c:v>
                </c:pt>
                <c:pt idx="46">
                  <c:v>4587</c:v>
                </c:pt>
                <c:pt idx="47">
                  <c:v>12325</c:v>
                </c:pt>
                <c:pt idx="48">
                  <c:v>16778</c:v>
                </c:pt>
                <c:pt idx="49">
                  <c:v>15238</c:v>
                </c:pt>
                <c:pt idx="50">
                  <c:v>14648</c:v>
                </c:pt>
                <c:pt idx="51">
                  <c:v>13169</c:v>
                </c:pt>
                <c:pt idx="52">
                  <c:v>9130</c:v>
                </c:pt>
                <c:pt idx="53">
                  <c:v>3983</c:v>
                </c:pt>
                <c:pt idx="54">
                  <c:v>10653</c:v>
                </c:pt>
                <c:pt idx="55">
                  <c:v>15360</c:v>
                </c:pt>
                <c:pt idx="56">
                  <c:v>14535</c:v>
                </c:pt>
                <c:pt idx="57">
                  <c:v>11245</c:v>
                </c:pt>
                <c:pt idx="58">
                  <c:v>14961</c:v>
                </c:pt>
                <c:pt idx="59">
                  <c:v>6956</c:v>
                </c:pt>
                <c:pt idx="60">
                  <c:v>3332</c:v>
                </c:pt>
                <c:pt idx="61">
                  <c:v>10630</c:v>
                </c:pt>
                <c:pt idx="62">
                  <c:v>14028</c:v>
                </c:pt>
                <c:pt idx="63">
                  <c:v>12029</c:v>
                </c:pt>
                <c:pt idx="64">
                  <c:v>10660</c:v>
                </c:pt>
                <c:pt idx="65">
                  <c:v>9710</c:v>
                </c:pt>
                <c:pt idx="66">
                  <c:v>5466</c:v>
                </c:pt>
                <c:pt idx="67">
                  <c:v>2390</c:v>
                </c:pt>
                <c:pt idx="68">
                  <c:v>8240</c:v>
                </c:pt>
                <c:pt idx="69">
                  <c:v>10968</c:v>
                </c:pt>
                <c:pt idx="70">
                  <c:v>8847</c:v>
                </c:pt>
                <c:pt idx="71">
                  <c:v>7926</c:v>
                </c:pt>
                <c:pt idx="72">
                  <c:v>7712</c:v>
                </c:pt>
                <c:pt idx="73">
                  <c:v>3969</c:v>
                </c:pt>
                <c:pt idx="74">
                  <c:v>1744</c:v>
                </c:pt>
                <c:pt idx="75">
                  <c:v>6935</c:v>
                </c:pt>
                <c:pt idx="76">
                  <c:v>8630</c:v>
                </c:pt>
                <c:pt idx="77">
                  <c:v>7262</c:v>
                </c:pt>
                <c:pt idx="78">
                  <c:v>6245</c:v>
                </c:pt>
                <c:pt idx="79">
                  <c:v>3837</c:v>
                </c:pt>
                <c:pt idx="80">
                  <c:v>2160</c:v>
                </c:pt>
                <c:pt idx="81">
                  <c:v>1925</c:v>
                </c:pt>
                <c:pt idx="82">
                  <c:v>1419</c:v>
                </c:pt>
                <c:pt idx="83">
                  <c:v>5582</c:v>
                </c:pt>
                <c:pt idx="84">
                  <c:v>7052</c:v>
                </c:pt>
                <c:pt idx="85">
                  <c:v>5282</c:v>
                </c:pt>
                <c:pt idx="86">
                  <c:v>4818</c:v>
                </c:pt>
                <c:pt idx="87">
                  <c:v>2204</c:v>
                </c:pt>
                <c:pt idx="88">
                  <c:v>985</c:v>
                </c:pt>
                <c:pt idx="89">
                  <c:v>3868</c:v>
                </c:pt>
                <c:pt idx="90">
                  <c:v>5056</c:v>
                </c:pt>
                <c:pt idx="91">
                  <c:v>3715</c:v>
                </c:pt>
                <c:pt idx="92">
                  <c:v>3263</c:v>
                </c:pt>
                <c:pt idx="93">
                  <c:v>3215</c:v>
                </c:pt>
                <c:pt idx="94">
                  <c:v>1541</c:v>
                </c:pt>
                <c:pt idx="95">
                  <c:v>833</c:v>
                </c:pt>
                <c:pt idx="96">
                  <c:v>3341</c:v>
                </c:pt>
                <c:pt idx="97">
                  <c:v>3815</c:v>
                </c:pt>
                <c:pt idx="98">
                  <c:v>2951</c:v>
                </c:pt>
                <c:pt idx="99">
                  <c:v>2628</c:v>
                </c:pt>
                <c:pt idx="100">
                  <c:v>2601</c:v>
                </c:pt>
                <c:pt idx="101">
                  <c:v>1306</c:v>
                </c:pt>
                <c:pt idx="102">
                  <c:v>825</c:v>
                </c:pt>
                <c:pt idx="103">
                  <c:v>2579</c:v>
                </c:pt>
                <c:pt idx="104">
                  <c:v>3238</c:v>
                </c:pt>
                <c:pt idx="105">
                  <c:v>2487</c:v>
                </c:pt>
                <c:pt idx="106">
                  <c:v>2228</c:v>
                </c:pt>
                <c:pt idx="107">
                  <c:v>2167</c:v>
                </c:pt>
                <c:pt idx="108">
                  <c:v>1171</c:v>
                </c:pt>
                <c:pt idx="109">
                  <c:v>508</c:v>
                </c:pt>
                <c:pt idx="110">
                  <c:v>2218</c:v>
                </c:pt>
                <c:pt idx="111">
                  <c:v>2419</c:v>
                </c:pt>
                <c:pt idx="112">
                  <c:v>1869</c:v>
                </c:pt>
                <c:pt idx="113">
                  <c:v>1574</c:v>
                </c:pt>
                <c:pt idx="114">
                  <c:v>1636</c:v>
                </c:pt>
                <c:pt idx="115">
                  <c:v>717</c:v>
                </c:pt>
                <c:pt idx="116">
                  <c:v>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lzeň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67.8767043171797</c:v>
                </c:pt>
                <c:pt idx="1">
                  <c:v>477.36985483955726</c:v>
                </c:pt>
                <c:pt idx="2">
                  <c:v>489.23629299252923</c:v>
                </c:pt>
                <c:pt idx="3">
                  <c:v>642.31334516586742</c:v>
                </c:pt>
                <c:pt idx="4">
                  <c:v>714.52909735395383</c:v>
                </c:pt>
                <c:pt idx="5">
                  <c:v>995.08559939921918</c:v>
                </c:pt>
                <c:pt idx="6">
                  <c:v>1276.9982658048243</c:v>
                </c:pt>
                <c:pt idx="7">
                  <c:v>1175.9640209595202</c:v>
                </c:pt>
                <c:pt idx="8">
                  <c:v>966.43662728704408</c:v>
                </c:pt>
                <c:pt idx="9">
                  <c:v>740.63526129049205</c:v>
                </c:pt>
                <c:pt idx="10">
                  <c:v>460.07875924522671</c:v>
                </c:pt>
                <c:pt idx="11">
                  <c:v>288.52396766226082</c:v>
                </c:pt>
                <c:pt idx="12">
                  <c:v>185.96403791157471</c:v>
                </c:pt>
                <c:pt idx="13">
                  <c:v>124.93664169629038</c:v>
                </c:pt>
                <c:pt idx="14">
                  <c:v>103.23801193085596</c:v>
                </c:pt>
                <c:pt idx="15">
                  <c:v>90.184929962586821</c:v>
                </c:pt>
                <c:pt idx="16">
                  <c:v>62.044519485539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E8D-4EF8-97A4-82FF42889A1B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8D-4EF8-97A4-82FF42889A1B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8D-4EF8-97A4-82FF42889A1B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8D-4EF8-97A4-82FF42889A1B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8D-4EF8-97A4-82FF42889A1B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E8D-4EF8-97A4-82FF42889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Karlovar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656.34078136453718</c:v>
                </c:pt>
                <c:pt idx="1">
                  <c:v>785.9799636195803</c:v>
                </c:pt>
                <c:pt idx="2">
                  <c:v>1025.2355224934163</c:v>
                </c:pt>
                <c:pt idx="3">
                  <c:v>1199.3321206526755</c:v>
                </c:pt>
                <c:pt idx="4">
                  <c:v>1055.439415741319</c:v>
                </c:pt>
                <c:pt idx="5">
                  <c:v>1115.8472022371243</c:v>
                </c:pt>
                <c:pt idx="6">
                  <c:v>1150.4629001167432</c:v>
                </c:pt>
                <c:pt idx="7">
                  <c:v>799.21537751472863</c:v>
                </c:pt>
                <c:pt idx="8">
                  <c:v>504.98194553796867</c:v>
                </c:pt>
                <c:pt idx="9">
                  <c:v>360.07113186544677</c:v>
                </c:pt>
                <c:pt idx="10">
                  <c:v>170.70290228870849</c:v>
                </c:pt>
                <c:pt idx="11">
                  <c:v>124.88800803627183</c:v>
                </c:pt>
                <c:pt idx="12">
                  <c:v>87.557353460212312</c:v>
                </c:pt>
                <c:pt idx="13">
                  <c:v>66.855808649852037</c:v>
                </c:pt>
                <c:pt idx="14">
                  <c:v>48.869220535932449</c:v>
                </c:pt>
                <c:pt idx="15">
                  <c:v>53.281025167648579</c:v>
                </c:pt>
                <c:pt idx="16">
                  <c:v>34.276328292563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311-4BFF-A138-3B7C7E44A26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11-4BFF-A138-3B7C7E44A26D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11-4BFF-A138-3B7C7E44A26D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11-4BFF-A138-3B7C7E44A26D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11-4BFF-A138-3B7C7E44A26D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11-4BFF-A138-3B7C7E44A2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Ústec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01.35693969901274</c:v>
                </c:pt>
                <c:pt idx="1">
                  <c:v>328.15040836089236</c:v>
                </c:pt>
                <c:pt idx="2">
                  <c:v>336.9205751767737</c:v>
                </c:pt>
                <c:pt idx="3">
                  <c:v>389.41976819961872</c:v>
                </c:pt>
                <c:pt idx="4">
                  <c:v>426.20574567734315</c:v>
                </c:pt>
                <c:pt idx="5">
                  <c:v>594.78784113817278</c:v>
                </c:pt>
                <c:pt idx="6">
                  <c:v>797.23252513809973</c:v>
                </c:pt>
                <c:pt idx="7">
                  <c:v>874.82413988416067</c:v>
                </c:pt>
                <c:pt idx="8">
                  <c:v>893.21712862302286</c:v>
                </c:pt>
                <c:pt idx="9">
                  <c:v>779.69219150633705</c:v>
                </c:pt>
                <c:pt idx="10">
                  <c:v>629.62489265681245</c:v>
                </c:pt>
                <c:pt idx="11">
                  <c:v>453.85613272185782</c:v>
                </c:pt>
                <c:pt idx="12">
                  <c:v>330.34295006486269</c:v>
                </c:pt>
                <c:pt idx="13">
                  <c:v>268.8299744812507</c:v>
                </c:pt>
                <c:pt idx="14">
                  <c:v>197.32875335732948</c:v>
                </c:pt>
                <c:pt idx="15">
                  <c:v>180.03203547045246</c:v>
                </c:pt>
                <c:pt idx="16">
                  <c:v>126.436571595622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964-47B1-8D35-5FF6432F340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64-47B1-8D35-5FF6432F3404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64-47B1-8D35-5FF6432F340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64-47B1-8D35-5FF6432F340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64-47B1-8D35-5FF6432F3404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64-47B1-8D35-5FF6432F3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iberec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742.18485879780928</c:v>
                </c:pt>
                <c:pt idx="1">
                  <c:v>571.34485789627888</c:v>
                </c:pt>
                <c:pt idx="2">
                  <c:v>553.08886835403098</c:v>
                </c:pt>
                <c:pt idx="3">
                  <c:v>574.95097928734026</c:v>
                </c:pt>
                <c:pt idx="4">
                  <c:v>643.01652054362285</c:v>
                </c:pt>
                <c:pt idx="5">
                  <c:v>772.16074286100661</c:v>
                </c:pt>
                <c:pt idx="6">
                  <c:v>1033.3791611260115</c:v>
                </c:pt>
                <c:pt idx="7">
                  <c:v>1073.9480267754514</c:v>
                </c:pt>
                <c:pt idx="8">
                  <c:v>1030.4491874957741</c:v>
                </c:pt>
                <c:pt idx="9">
                  <c:v>785.90908066442785</c:v>
                </c:pt>
                <c:pt idx="10">
                  <c:v>581.03630913475627</c:v>
                </c:pt>
                <c:pt idx="11">
                  <c:v>376.38892019202598</c:v>
                </c:pt>
                <c:pt idx="12">
                  <c:v>274.06522572066081</c:v>
                </c:pt>
                <c:pt idx="13">
                  <c:v>185.48986905271698</c:v>
                </c:pt>
                <c:pt idx="14">
                  <c:v>144.69562081633572</c:v>
                </c:pt>
                <c:pt idx="15">
                  <c:v>105.25366810160247</c:v>
                </c:pt>
                <c:pt idx="16">
                  <c:v>91.9560954720638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98-4C03-97A5-6004D3B70013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98-4C03-97A5-6004D3B70013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98-4C03-97A5-6004D3B70013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98-4C03-97A5-6004D3B70013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98-4C03-97A5-6004D3B70013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998-4C03-97A5-6004D3B700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Královéhradec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956.04616720475235</c:v>
                </c:pt>
                <c:pt idx="1">
                  <c:v>960.75932616328919</c:v>
                </c:pt>
                <c:pt idx="2">
                  <c:v>945.16964653120567</c:v>
                </c:pt>
                <c:pt idx="3">
                  <c:v>999.37097455437993</c:v>
                </c:pt>
                <c:pt idx="4">
                  <c:v>1014.5981034973453</c:v>
                </c:pt>
                <c:pt idx="5">
                  <c:v>1043.4208832822439</c:v>
                </c:pt>
                <c:pt idx="6">
                  <c:v>1070.7934603106696</c:v>
                </c:pt>
                <c:pt idx="7">
                  <c:v>972.72349890419059</c:v>
                </c:pt>
                <c:pt idx="8">
                  <c:v>694.82839569507314</c:v>
                </c:pt>
                <c:pt idx="9">
                  <c:v>479.29201101428993</c:v>
                </c:pt>
                <c:pt idx="10">
                  <c:v>307.98681040592987</c:v>
                </c:pt>
                <c:pt idx="11">
                  <c:v>189.6140104088303</c:v>
                </c:pt>
                <c:pt idx="12">
                  <c:v>122.54213292195915</c:v>
                </c:pt>
                <c:pt idx="13">
                  <c:v>83.205383152632024</c:v>
                </c:pt>
                <c:pt idx="14">
                  <c:v>58.008110258915572</c:v>
                </c:pt>
                <c:pt idx="15">
                  <c:v>56.7391828470018</c:v>
                </c:pt>
                <c:pt idx="16">
                  <c:v>36.617619600940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E8D-4EF8-97A4-82FF42889A1B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8D-4EF8-97A4-82FF42889A1B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8D-4EF8-97A4-82FF42889A1B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8D-4EF8-97A4-82FF42889A1B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8D-4EF8-97A4-82FF42889A1B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E8D-4EF8-97A4-82FF42889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ardubic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670.41414910592312</c:v>
                </c:pt>
                <c:pt idx="1">
                  <c:v>529.02258055875495</c:v>
                </c:pt>
                <c:pt idx="2">
                  <c:v>537.82367954815925</c:v>
                </c:pt>
                <c:pt idx="3">
                  <c:v>578.38526619497873</c:v>
                </c:pt>
                <c:pt idx="4">
                  <c:v>671.75344677822375</c:v>
                </c:pt>
                <c:pt idx="5">
                  <c:v>829.98190034860011</c:v>
                </c:pt>
                <c:pt idx="6">
                  <c:v>987.44504096337596</c:v>
                </c:pt>
                <c:pt idx="7">
                  <c:v>1030.6852229547967</c:v>
                </c:pt>
                <c:pt idx="8">
                  <c:v>923.35008093184501</c:v>
                </c:pt>
                <c:pt idx="9">
                  <c:v>746.7541164270599</c:v>
                </c:pt>
                <c:pt idx="10">
                  <c:v>564.41830475527206</c:v>
                </c:pt>
                <c:pt idx="11">
                  <c:v>425.13134683600492</c:v>
                </c:pt>
                <c:pt idx="12">
                  <c:v>326.40597556355732</c:v>
                </c:pt>
                <c:pt idx="13">
                  <c:v>230.9331843524113</c:v>
                </c:pt>
                <c:pt idx="14">
                  <c:v>161.86369010947803</c:v>
                </c:pt>
                <c:pt idx="15">
                  <c:v>107.90912673965201</c:v>
                </c:pt>
                <c:pt idx="16">
                  <c:v>83.036455682640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311-4BFF-A138-3B7C7E44A26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11-4BFF-A138-3B7C7E44A26D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11-4BFF-A138-3B7C7E44A26D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11-4BFF-A138-3B7C7E44A26D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11-4BFF-A138-3B7C7E44A26D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11-4BFF-A138-3B7C7E44A2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Kraj Vysočina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93.12198786613914</c:v>
                </c:pt>
                <c:pt idx="1">
                  <c:v>347.18612510861828</c:v>
                </c:pt>
                <c:pt idx="2">
                  <c:v>327.76724014491589</c:v>
                </c:pt>
                <c:pt idx="3">
                  <c:v>309.13295659388837</c:v>
                </c:pt>
                <c:pt idx="4">
                  <c:v>341.30161451355696</c:v>
                </c:pt>
                <c:pt idx="5">
                  <c:v>391.31995457157819</c:v>
                </c:pt>
                <c:pt idx="6">
                  <c:v>548.8286881660531</c:v>
                </c:pt>
                <c:pt idx="7">
                  <c:v>640.82320380217845</c:v>
                </c:pt>
                <c:pt idx="8">
                  <c:v>685.9377850309819</c:v>
                </c:pt>
                <c:pt idx="9">
                  <c:v>644.15775980604656</c:v>
                </c:pt>
                <c:pt idx="10">
                  <c:v>546.08258322169104</c:v>
                </c:pt>
                <c:pt idx="11">
                  <c:v>418.19255295569161</c:v>
                </c:pt>
                <c:pt idx="12">
                  <c:v>364.44735618746483</c:v>
                </c:pt>
                <c:pt idx="13">
                  <c:v>273.43359231718296</c:v>
                </c:pt>
                <c:pt idx="14">
                  <c:v>201.25026235109738</c:v>
                </c:pt>
                <c:pt idx="15">
                  <c:v>190.85429363315569</c:v>
                </c:pt>
                <c:pt idx="16">
                  <c:v>146.91661452336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964-47B1-8D35-5FF6432F340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64-47B1-8D35-5FF6432F3404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64-47B1-8D35-5FF6432F340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64-47B1-8D35-5FF6432F340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64-47B1-8D35-5FF6432F3404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64-47B1-8D35-5FF6432F3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Jihomorav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69.80299314842671</c:v>
                </c:pt>
                <c:pt idx="1">
                  <c:v>372.40276546176182</c:v>
                </c:pt>
                <c:pt idx="2">
                  <c:v>346.31192066369738</c:v>
                </c:pt>
                <c:pt idx="3">
                  <c:v>338.76151541666911</c:v>
                </c:pt>
                <c:pt idx="4">
                  <c:v>352.60392503622097</c:v>
                </c:pt>
                <c:pt idx="5">
                  <c:v>418.54413086026801</c:v>
                </c:pt>
                <c:pt idx="6">
                  <c:v>565.27367282751766</c:v>
                </c:pt>
                <c:pt idx="7">
                  <c:v>636.49916232448459</c:v>
                </c:pt>
                <c:pt idx="8">
                  <c:v>591.86787797538398</c:v>
                </c:pt>
                <c:pt idx="9">
                  <c:v>526.51492589277245</c:v>
                </c:pt>
                <c:pt idx="10">
                  <c:v>426.59789645709816</c:v>
                </c:pt>
                <c:pt idx="11">
                  <c:v>342.20114447364864</c:v>
                </c:pt>
                <c:pt idx="12">
                  <c:v>248.91169297703252</c:v>
                </c:pt>
                <c:pt idx="13">
                  <c:v>184.73324837729209</c:v>
                </c:pt>
                <c:pt idx="14">
                  <c:v>164.93440795175124</c:v>
                </c:pt>
                <c:pt idx="15">
                  <c:v>148.07183623338807</c:v>
                </c:pt>
                <c:pt idx="16">
                  <c:v>107.13186111616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98-4C03-97A5-6004D3B70013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98-4C03-97A5-6004D3B70013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98-4C03-97A5-6004D3B70013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98-4C03-97A5-6004D3B70013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98-4C03-97A5-6004D3B70013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998-4C03-97A5-6004D3B700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lomouc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78.62788066738921</c:v>
                </c:pt>
                <c:pt idx="1">
                  <c:v>442.23633932738937</c:v>
                </c:pt>
                <c:pt idx="2">
                  <c:v>387.80725141017223</c:v>
                </c:pt>
                <c:pt idx="3">
                  <c:v>362.49139656495493</c:v>
                </c:pt>
                <c:pt idx="4">
                  <c:v>355.37131238973757</c:v>
                </c:pt>
                <c:pt idx="5">
                  <c:v>443.34390797686763</c:v>
                </c:pt>
                <c:pt idx="6">
                  <c:v>537.9619154608672</c:v>
                </c:pt>
                <c:pt idx="7">
                  <c:v>611.3778945119974</c:v>
                </c:pt>
                <c:pt idx="8">
                  <c:v>630.04833746034512</c:v>
                </c:pt>
                <c:pt idx="9">
                  <c:v>571.03075085243233</c:v>
                </c:pt>
                <c:pt idx="10">
                  <c:v>433.85046240991113</c:v>
                </c:pt>
                <c:pt idx="11">
                  <c:v>377.20623719373748</c:v>
                </c:pt>
                <c:pt idx="12">
                  <c:v>305.21427497765086</c:v>
                </c:pt>
                <c:pt idx="13">
                  <c:v>252.68387617382498</c:v>
                </c:pt>
                <c:pt idx="14">
                  <c:v>209.80514702973821</c:v>
                </c:pt>
                <c:pt idx="15">
                  <c:v>155.37605911252106</c:v>
                </c:pt>
                <c:pt idx="16">
                  <c:v>93.985111112869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E8D-4EF8-97A4-82FF42889A1B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8D-4EF8-97A4-82FF42889A1B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8D-4EF8-97A4-82FF42889A1B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8D-4EF8-97A4-82FF42889A1B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8D-4EF8-97A4-82FF42889A1B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E8D-4EF8-97A4-82FF42889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lín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572.64979272343385</c:v>
                </c:pt>
                <c:pt idx="1">
                  <c:v>388.28951772793982</c:v>
                </c:pt>
                <c:pt idx="2">
                  <c:v>315.67834796714476</c:v>
                </c:pt>
                <c:pt idx="3">
                  <c:v>266.58427101303738</c:v>
                </c:pt>
                <c:pt idx="4">
                  <c:v>217.66185167065771</c:v>
                </c:pt>
                <c:pt idx="5">
                  <c:v>280.83185278643219</c:v>
                </c:pt>
                <c:pt idx="6">
                  <c:v>391.37935473903752</c:v>
                </c:pt>
                <c:pt idx="7">
                  <c:v>421.93440962655887</c:v>
                </c:pt>
                <c:pt idx="8">
                  <c:v>465.02047017019851</c:v>
                </c:pt>
                <c:pt idx="9">
                  <c:v>416.6130236630018</c:v>
                </c:pt>
                <c:pt idx="10">
                  <c:v>396.01411025568399</c:v>
                </c:pt>
                <c:pt idx="11">
                  <c:v>391.03603951558222</c:v>
                </c:pt>
                <c:pt idx="12">
                  <c:v>321.34304915415714</c:v>
                </c:pt>
                <c:pt idx="13">
                  <c:v>283.75003218580218</c:v>
                </c:pt>
                <c:pt idx="14">
                  <c:v>267.27090145994799</c:v>
                </c:pt>
                <c:pt idx="15">
                  <c:v>215.77361794165358</c:v>
                </c:pt>
                <c:pt idx="16">
                  <c:v>147.453888474049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311-4BFF-A138-3B7C7E44A26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11-4BFF-A138-3B7C7E44A26D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11-4BFF-A138-3B7C7E44A26D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11-4BFF-A138-3B7C7E44A26D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11-4BFF-A138-3B7C7E44A26D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11-4BFF-A138-3B7C7E44A2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547.26553013352907</c:v>
                </c:pt>
                <c:pt idx="1">
                  <c:v>441.02181361739673</c:v>
                </c:pt>
                <c:pt idx="2">
                  <c:v>454.21477385381456</c:v>
                </c:pt>
                <c:pt idx="3">
                  <c:v>478.12364873124119</c:v>
                </c:pt>
                <c:pt idx="4">
                  <c:v>515.49472793154325</c:v>
                </c:pt>
                <c:pt idx="5">
                  <c:v>638.53927544262399</c:v>
                </c:pt>
                <c:pt idx="6">
                  <c:v>831.47958779807357</c:v>
                </c:pt>
                <c:pt idx="7">
                  <c:v>882.09747605208497</c:v>
                </c:pt>
                <c:pt idx="8">
                  <c:v>799.9780296825453</c:v>
                </c:pt>
                <c:pt idx="9">
                  <c:v>678.22585378646056</c:v>
                </c:pt>
                <c:pt idx="10">
                  <c:v>524.05668988089189</c:v>
                </c:pt>
                <c:pt idx="11">
                  <c:v>388.68076321005731</c:v>
                </c:pt>
                <c:pt idx="12">
                  <c:v>298.86093596783297</c:v>
                </c:pt>
                <c:pt idx="13">
                  <c:v>215.0721762622567</c:v>
                </c:pt>
                <c:pt idx="14">
                  <c:v>179.15501512882526</c:v>
                </c:pt>
                <c:pt idx="15">
                  <c:v>147.49191056142243</c:v>
                </c:pt>
                <c:pt idx="16">
                  <c:v>108.77461092883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609.56827394305503</c:v>
                </c:pt>
                <c:pt idx="1">
                  <c:v>522.38528230739598</c:v>
                </c:pt>
                <c:pt idx="2">
                  <c:v>517.75294351476555</c:v>
                </c:pt>
                <c:pt idx="3">
                  <c:v>558.85010305964033</c:v>
                </c:pt>
                <c:pt idx="4">
                  <c:v>601.68933873165804</c:v>
                </c:pt>
                <c:pt idx="5">
                  <c:v>740.46153931430342</c:v>
                </c:pt>
                <c:pt idx="6">
                  <c:v>931.61480162900011</c:v>
                </c:pt>
                <c:pt idx="7">
                  <c:v>967.20858431767283</c:v>
                </c:pt>
                <c:pt idx="8">
                  <c:v>865.69305727233689</c:v>
                </c:pt>
                <c:pt idx="9">
                  <c:v>713.73650781835886</c:v>
                </c:pt>
                <c:pt idx="10">
                  <c:v>522.82080133918168</c:v>
                </c:pt>
                <c:pt idx="11">
                  <c:v>382.9795994966986</c:v>
                </c:pt>
                <c:pt idx="12">
                  <c:v>294.21290229090948</c:v>
                </c:pt>
                <c:pt idx="13">
                  <c:v>223.06492955281709</c:v>
                </c:pt>
                <c:pt idx="14">
                  <c:v>184.93721795193622</c:v>
                </c:pt>
                <c:pt idx="15">
                  <c:v>156.98481463914089</c:v>
                </c:pt>
                <c:pt idx="16">
                  <c:v>114.38313480264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644.35164093478375</c:v>
                </c:pt>
                <c:pt idx="1">
                  <c:v>543.46297702410027</c:v>
                </c:pt>
                <c:pt idx="2">
                  <c:v>520.96515650046342</c:v>
                </c:pt>
                <c:pt idx="3">
                  <c:v>546.67695138461977</c:v>
                </c:pt>
                <c:pt idx="4">
                  <c:v>578.26429314660083</c:v>
                </c:pt>
                <c:pt idx="5">
                  <c:v>696.02632245001189</c:v>
                </c:pt>
                <c:pt idx="6">
                  <c:v>873.14644072426825</c:v>
                </c:pt>
                <c:pt idx="7">
                  <c:v>917.69011662709363</c:v>
                </c:pt>
                <c:pt idx="8">
                  <c:v>870.03290306251495</c:v>
                </c:pt>
                <c:pt idx="9">
                  <c:v>739.41497631702566</c:v>
                </c:pt>
                <c:pt idx="10">
                  <c:v>558.52848183903552</c:v>
                </c:pt>
                <c:pt idx="11">
                  <c:v>404.55902263039656</c:v>
                </c:pt>
                <c:pt idx="12">
                  <c:v>319.8406672210769</c:v>
                </c:pt>
                <c:pt idx="13">
                  <c:v>221.11139233386743</c:v>
                </c:pt>
                <c:pt idx="14">
                  <c:v>183.89959544097718</c:v>
                </c:pt>
                <c:pt idx="15">
                  <c:v>152.61356377529484</c:v>
                </c:pt>
                <c:pt idx="16">
                  <c:v>112.89084941324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457.60164006424742</c:v>
                </c:pt>
                <c:pt idx="1">
                  <c:v>350.80712161079452</c:v>
                </c:pt>
                <c:pt idx="2">
                  <c:v>326.23424117775022</c:v>
                </c:pt>
                <c:pt idx="3">
                  <c:v>349.87101188001185</c:v>
                </c:pt>
                <c:pt idx="4">
                  <c:v>354.78558796662071</c:v>
                </c:pt>
                <c:pt idx="5">
                  <c:v>420.62530569833314</c:v>
                </c:pt>
                <c:pt idx="6">
                  <c:v>529.60408019027886</c:v>
                </c:pt>
                <c:pt idx="7">
                  <c:v>584.99057259491838</c:v>
                </c:pt>
                <c:pt idx="8">
                  <c:v>531.2422722191485</c:v>
                </c:pt>
                <c:pt idx="9">
                  <c:v>472.96944147792908</c:v>
                </c:pt>
                <c:pt idx="10">
                  <c:v>370.54343510146185</c:v>
                </c:pt>
                <c:pt idx="11">
                  <c:v>285.66948617716912</c:v>
                </c:pt>
                <c:pt idx="12">
                  <c:v>210.62468942609411</c:v>
                </c:pt>
                <c:pt idx="13">
                  <c:v>157.96851706957057</c:v>
                </c:pt>
                <c:pt idx="14">
                  <c:v>121.46023756904761</c:v>
                </c:pt>
                <c:pt idx="15">
                  <c:v>100.39776862643819</c:v>
                </c:pt>
                <c:pt idx="16">
                  <c:v>75.278824183770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592.07111914504617</c:v>
                </c:pt>
                <c:pt idx="1">
                  <c:v>465.79556540967849</c:v>
                </c:pt>
                <c:pt idx="2">
                  <c:v>429.19566120492613</c:v>
                </c:pt>
                <c:pt idx="3">
                  <c:v>417.42720326127579</c:v>
                </c:pt>
                <c:pt idx="4">
                  <c:v>390.00669625257063</c:v>
                </c:pt>
                <c:pt idx="5">
                  <c:v>452.9679462510997</c:v>
                </c:pt>
                <c:pt idx="6">
                  <c:v>542.52591120227839</c:v>
                </c:pt>
                <c:pt idx="7">
                  <c:v>567.00430372507105</c:v>
                </c:pt>
                <c:pt idx="8">
                  <c:v>498.5118784930263</c:v>
                </c:pt>
                <c:pt idx="9">
                  <c:v>447.31908643814756</c:v>
                </c:pt>
                <c:pt idx="10">
                  <c:v>346.81645559937408</c:v>
                </c:pt>
                <c:pt idx="11">
                  <c:v>257.02312148932236</c:v>
                </c:pt>
                <c:pt idx="12">
                  <c:v>185.23552803305557</c:v>
                </c:pt>
                <c:pt idx="13">
                  <c:v>147.34109345450165</c:v>
                </c:pt>
                <c:pt idx="14">
                  <c:v>99.914207941590973</c:v>
                </c:pt>
                <c:pt idx="15">
                  <c:v>81.908467287806019</c:v>
                </c:pt>
                <c:pt idx="16">
                  <c:v>55.6648060734658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84955244274715</c:v>
                </c:pt>
                <c:pt idx="1">
                  <c:v>452.2655309703967</c:v>
                </c:pt>
                <c:pt idx="2">
                  <c:v>441.12838122604143</c:v>
                </c:pt>
                <c:pt idx="3">
                  <c:v>468.94787785866686</c:v>
                </c:pt>
                <c:pt idx="4">
                  <c:v>495.93512736513981</c:v>
                </c:pt>
                <c:pt idx="5">
                  <c:v>608.68123523053987</c:v>
                </c:pt>
                <c:pt idx="6">
                  <c:v>769.49195240407266</c:v>
                </c:pt>
                <c:pt idx="7">
                  <c:v>802.95015709366385</c:v>
                </c:pt>
                <c:pt idx="8">
                  <c:v>726.40212367024469</c:v>
                </c:pt>
                <c:pt idx="9">
                  <c:v>615.6758515267428</c:v>
                </c:pt>
                <c:pt idx="10">
                  <c:v>467.97536436293808</c:v>
                </c:pt>
                <c:pt idx="11">
                  <c:v>344.17626657492855</c:v>
                </c:pt>
                <c:pt idx="12">
                  <c:v>264.42080883386552</c:v>
                </c:pt>
                <c:pt idx="13">
                  <c:v>202.34826475071671</c:v>
                </c:pt>
                <c:pt idx="14">
                  <c:v>163.40096946504107</c:v>
                </c:pt>
                <c:pt idx="15">
                  <c:v>137.39558454560196</c:v>
                </c:pt>
                <c:pt idx="16">
                  <c:v>102.28223669501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oravskoslez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651.70727481572862</c:v>
                </c:pt>
                <c:pt idx="1">
                  <c:v>425.97533274637476</c:v>
                </c:pt>
                <c:pt idx="2">
                  <c:v>362.67043386345631</c:v>
                </c:pt>
                <c:pt idx="3">
                  <c:v>300.86486153302809</c:v>
                </c:pt>
                <c:pt idx="4">
                  <c:v>299.94860641761744</c:v>
                </c:pt>
                <c:pt idx="5">
                  <c:v>375.58130139878836</c:v>
                </c:pt>
                <c:pt idx="6">
                  <c:v>474.45355794355703</c:v>
                </c:pt>
                <c:pt idx="7">
                  <c:v>502.27439508420804</c:v>
                </c:pt>
                <c:pt idx="8">
                  <c:v>471.28831299941112</c:v>
                </c:pt>
                <c:pt idx="9">
                  <c:v>491.44592553844564</c:v>
                </c:pt>
                <c:pt idx="10">
                  <c:v>414.73038360269845</c:v>
                </c:pt>
                <c:pt idx="11">
                  <c:v>324.85408637287082</c:v>
                </c:pt>
                <c:pt idx="12">
                  <c:v>286.28807560604031</c:v>
                </c:pt>
                <c:pt idx="13">
                  <c:v>240.72520759425558</c:v>
                </c:pt>
                <c:pt idx="14">
                  <c:v>196.49507429579546</c:v>
                </c:pt>
                <c:pt idx="15">
                  <c:v>162.593635025601</c:v>
                </c:pt>
                <c:pt idx="16">
                  <c:v>132.607103975797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964-47B1-8D35-5FF6432F340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64-47B1-8D35-5FF6432F3404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64-47B1-8D35-5FF6432F340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64-47B1-8D35-5FF6432F340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64-47B1-8D35-5FF6432F3404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64-47B1-8D35-5FF6432F3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Kraj Vysočina</c:v>
                </c:pt>
                <c:pt idx="3">
                  <c:v>Jihomorav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Moravskoslezský kraj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ČR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26748410535799999</c:v>
                </c:pt>
                <c:pt idx="1">
                  <c:v>0.24019724807100001</c:v>
                </c:pt>
                <c:pt idx="2">
                  <c:v>0.21522512764900001</c:v>
                </c:pt>
                <c:pt idx="3">
                  <c:v>0.20162012537599999</c:v>
                </c:pt>
                <c:pt idx="4">
                  <c:v>0.13952282157599999</c:v>
                </c:pt>
                <c:pt idx="5">
                  <c:v>0.21327945833699999</c:v>
                </c:pt>
                <c:pt idx="6">
                  <c:v>0.15225243644700001</c:v>
                </c:pt>
                <c:pt idx="7">
                  <c:v>0.21976011384399999</c:v>
                </c:pt>
                <c:pt idx="8">
                  <c:v>0.199112412499</c:v>
                </c:pt>
                <c:pt idx="9">
                  <c:v>0.18107356165999999</c:v>
                </c:pt>
                <c:pt idx="10">
                  <c:v>0.17129794985300001</c:v>
                </c:pt>
                <c:pt idx="11">
                  <c:v>0.19770575634000001</c:v>
                </c:pt>
                <c:pt idx="12">
                  <c:v>0.13002039535599999</c:v>
                </c:pt>
                <c:pt idx="13">
                  <c:v>9.7176759409999994E-2</c:v>
                </c:pt>
                <c:pt idx="14">
                  <c:v>0.117491014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Kraj Vysočina</c:v>
                </c:pt>
                <c:pt idx="3">
                  <c:v>Jihomorav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Moravskoslezský kraj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ČR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21597157600799999</c:v>
                </c:pt>
                <c:pt idx="1">
                  <c:v>0.23642775135300001</c:v>
                </c:pt>
                <c:pt idx="2">
                  <c:v>0.170620363577</c:v>
                </c:pt>
                <c:pt idx="3">
                  <c:v>0.13952037086499999</c:v>
                </c:pt>
                <c:pt idx="4">
                  <c:v>0.117558483463</c:v>
                </c:pt>
                <c:pt idx="5">
                  <c:v>0.153433750319</c:v>
                </c:pt>
                <c:pt idx="6">
                  <c:v>0.117625792881</c:v>
                </c:pt>
                <c:pt idx="7">
                  <c:v>0.129883705736</c:v>
                </c:pt>
                <c:pt idx="8">
                  <c:v>0.137219027705</c:v>
                </c:pt>
                <c:pt idx="9">
                  <c:v>0.13109148941900001</c:v>
                </c:pt>
                <c:pt idx="10">
                  <c:v>0.13155021834</c:v>
                </c:pt>
                <c:pt idx="11">
                  <c:v>0.122824974411</c:v>
                </c:pt>
                <c:pt idx="12">
                  <c:v>8.4059623686000007E-2</c:v>
                </c:pt>
                <c:pt idx="13">
                  <c:v>6.0850111855999998E-2</c:v>
                </c:pt>
                <c:pt idx="14">
                  <c:v>5.7250470808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Kraj Vysočina</c:v>
                </c:pt>
                <c:pt idx="3">
                  <c:v>Jihomorav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Moravskoslezský kraj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ČR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[$-10405]0.0\ %</c:formatCode>
                <c:ptCount val="15"/>
                <c:pt idx="0">
                  <c:v>0.10519911504399999</c:v>
                </c:pt>
                <c:pt idx="1">
                  <c:v>0.10031494226</c:v>
                </c:pt>
                <c:pt idx="2">
                  <c:v>7.7391138999000006E-2</c:v>
                </c:pt>
                <c:pt idx="3">
                  <c:v>7.1295755192999993E-2</c:v>
                </c:pt>
                <c:pt idx="4">
                  <c:v>6.5549502605000004E-2</c:v>
                </c:pt>
                <c:pt idx="5">
                  <c:v>6.1447136210000003E-2</c:v>
                </c:pt>
                <c:pt idx="6">
                  <c:v>6.0703358137999999E-2</c:v>
                </c:pt>
                <c:pt idx="7">
                  <c:v>5.9171597632999999E-2</c:v>
                </c:pt>
                <c:pt idx="8">
                  <c:v>5.8541384823000003E-2</c:v>
                </c:pt>
                <c:pt idx="9">
                  <c:v>5.7475959052000002E-2</c:v>
                </c:pt>
                <c:pt idx="10">
                  <c:v>5.2470566422000001E-2</c:v>
                </c:pt>
                <c:pt idx="11">
                  <c:v>4.8807801781999997E-2</c:v>
                </c:pt>
                <c:pt idx="12">
                  <c:v>3.1243987841E-2</c:v>
                </c:pt>
                <c:pt idx="13">
                  <c:v>2.1818967379E-2</c:v>
                </c:pt>
                <c:pt idx="14">
                  <c:v>1.961765588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Kraj Vysočina</c:v>
                </c:pt>
                <c:pt idx="3">
                  <c:v>Jihomorav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Moravskoslezský kraj</c:v>
                </c:pt>
                <c:pt idx="7">
                  <c:v>Plzeňský kraj</c:v>
                </c:pt>
                <c:pt idx="8">
                  <c:v>Ústecký kraj</c:v>
                </c:pt>
                <c:pt idx="9">
                  <c:v>ČR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[$-10405]0.0\ %</c:formatCode>
                <c:ptCount val="15"/>
                <c:pt idx="0">
                  <c:v>0.10519911504399999</c:v>
                </c:pt>
                <c:pt idx="1">
                  <c:v>0.10031494226</c:v>
                </c:pt>
                <c:pt idx="2">
                  <c:v>7.7391138999000006E-2</c:v>
                </c:pt>
                <c:pt idx="3">
                  <c:v>7.1295755192999993E-2</c:v>
                </c:pt>
                <c:pt idx="4">
                  <c:v>6.5549502605000004E-2</c:v>
                </c:pt>
                <c:pt idx="5">
                  <c:v>6.1447136210000003E-2</c:v>
                </c:pt>
                <c:pt idx="6">
                  <c:v>6.0703358137999999E-2</c:v>
                </c:pt>
                <c:pt idx="7">
                  <c:v>5.9171597632999999E-2</c:v>
                </c:pt>
                <c:pt idx="8">
                  <c:v>5.8541384823000003E-2</c:v>
                </c:pt>
                <c:pt idx="9">
                  <c:v>5.7475959052000002E-2</c:v>
                </c:pt>
                <c:pt idx="10">
                  <c:v>5.2470566422000001E-2</c:v>
                </c:pt>
                <c:pt idx="11">
                  <c:v>4.8807801781999997E-2</c:v>
                </c:pt>
                <c:pt idx="12">
                  <c:v>3.1243987841E-2</c:v>
                </c:pt>
                <c:pt idx="13">
                  <c:v>2.1818967379E-2</c:v>
                </c:pt>
                <c:pt idx="14">
                  <c:v>1.961765588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Zlíns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Kraj Vysočina</c:v>
                </c:pt>
                <c:pt idx="5">
                  <c:v>Jihomoravs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13.31365678025901</c:v>
                </c:pt>
                <c:pt idx="1">
                  <c:v>240.32065641870699</c:v>
                </c:pt>
                <c:pt idx="2">
                  <c:v>230.64640132473801</c:v>
                </c:pt>
                <c:pt idx="3">
                  <c:v>337.529614538987</c:v>
                </c:pt>
                <c:pt idx="4">
                  <c:v>206.35017153348301</c:v>
                </c:pt>
                <c:pt idx="5">
                  <c:v>238.592805806093</c:v>
                </c:pt>
                <c:pt idx="6">
                  <c:v>239.39305238008501</c:v>
                </c:pt>
                <c:pt idx="7">
                  <c:v>234.65628520978001</c:v>
                </c:pt>
                <c:pt idx="8">
                  <c:v>276.31905159007403</c:v>
                </c:pt>
                <c:pt idx="9">
                  <c:v>264.60695439882699</c:v>
                </c:pt>
                <c:pt idx="10">
                  <c:v>244.740427147849</c:v>
                </c:pt>
                <c:pt idx="11">
                  <c:v>181.23096602901001</c:v>
                </c:pt>
                <c:pt idx="12">
                  <c:v>209.69691421751801</c:v>
                </c:pt>
                <c:pt idx="13">
                  <c:v>99.43528900714</c:v>
                </c:pt>
                <c:pt idx="14">
                  <c:v>139.21946462139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Zlíns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Kraj Vysočina</c:v>
                </c:pt>
                <c:pt idx="5">
                  <c:v>Jihomoravs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00.75052438893701</c:v>
                </c:pt>
                <c:pt idx="1">
                  <c:v>212.855438542283</c:v>
                </c:pt>
                <c:pt idx="2">
                  <c:v>176.087573998012</c:v>
                </c:pt>
                <c:pt idx="3">
                  <c:v>201.10479740305601</c:v>
                </c:pt>
                <c:pt idx="4">
                  <c:v>156.72413218179901</c:v>
                </c:pt>
                <c:pt idx="5">
                  <c:v>156.37728200511901</c:v>
                </c:pt>
                <c:pt idx="6">
                  <c:v>202.36861466895499</c:v>
                </c:pt>
                <c:pt idx="7">
                  <c:v>153.086715755532</c:v>
                </c:pt>
                <c:pt idx="8">
                  <c:v>155.513984989519</c:v>
                </c:pt>
                <c:pt idx="9">
                  <c:v>186.16237644978901</c:v>
                </c:pt>
                <c:pt idx="10">
                  <c:v>133.199436014095</c:v>
                </c:pt>
                <c:pt idx="11">
                  <c:v>112.061147327938</c:v>
                </c:pt>
                <c:pt idx="12">
                  <c:v>101.712327025473</c:v>
                </c:pt>
                <c:pt idx="13">
                  <c:v>64.140851953411001</c:v>
                </c:pt>
                <c:pt idx="14">
                  <c:v>60.002139049065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08.05.2021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Zlíns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Kraj Vysočina</c:v>
                </c:pt>
                <c:pt idx="5">
                  <c:v>Jihomoravs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[$-10405]#\ ##0.0;\(#\ ##0.0\)</c:formatCode>
                <c:ptCount val="15"/>
                <c:pt idx="0">
                  <c:v>84.461164166730001</c:v>
                </c:pt>
                <c:pt idx="1">
                  <c:v>77.932555724352</c:v>
                </c:pt>
                <c:pt idx="2">
                  <c:v>70.718235725786002</c:v>
                </c:pt>
                <c:pt idx="3">
                  <c:v>66.628906226208997</c:v>
                </c:pt>
                <c:pt idx="4">
                  <c:v>60.218158422793998</c:v>
                </c:pt>
                <c:pt idx="5">
                  <c:v>58.893160926820002</c:v>
                </c:pt>
                <c:pt idx="6">
                  <c:v>52.846846989390997</c:v>
                </c:pt>
                <c:pt idx="7">
                  <c:v>52.674697321537998</c:v>
                </c:pt>
                <c:pt idx="8">
                  <c:v>50.260316887917</c:v>
                </c:pt>
                <c:pt idx="9">
                  <c:v>42.857525513619997</c:v>
                </c:pt>
                <c:pt idx="10">
                  <c:v>42.811526046806001</c:v>
                </c:pt>
                <c:pt idx="11">
                  <c:v>39.568760916332998</c:v>
                </c:pt>
                <c:pt idx="12">
                  <c:v>30.344177562599</c:v>
                </c:pt>
                <c:pt idx="13">
                  <c:v>17.647218526863998</c:v>
                </c:pt>
                <c:pt idx="14">
                  <c:v>17.039882388555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8.05.2021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Zlíns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Kraj Vysočina</c:v>
                </c:pt>
                <c:pt idx="5">
                  <c:v>Jihomoravs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[$-10405]#\ ##0.0;\(#\ ##0.0\)</c:formatCode>
                <c:ptCount val="15"/>
                <c:pt idx="0">
                  <c:v>84.461164166730001</c:v>
                </c:pt>
                <c:pt idx="1">
                  <c:v>77.932555724352</c:v>
                </c:pt>
                <c:pt idx="2">
                  <c:v>70.718235725786002</c:v>
                </c:pt>
                <c:pt idx="3">
                  <c:v>66.628906226208997</c:v>
                </c:pt>
                <c:pt idx="4">
                  <c:v>60.218158422793998</c:v>
                </c:pt>
                <c:pt idx="5">
                  <c:v>58.893160926820002</c:v>
                </c:pt>
                <c:pt idx="6">
                  <c:v>52.846846989390997</c:v>
                </c:pt>
                <c:pt idx="7">
                  <c:v>52.674697321537998</c:v>
                </c:pt>
                <c:pt idx="8">
                  <c:v>50.260316887917</c:v>
                </c:pt>
                <c:pt idx="9">
                  <c:v>42.857525513619997</c:v>
                </c:pt>
                <c:pt idx="10">
                  <c:v>42.811526046806001</c:v>
                </c:pt>
                <c:pt idx="11">
                  <c:v>39.568760916332998</c:v>
                </c:pt>
                <c:pt idx="12">
                  <c:v>30.344177562599</c:v>
                </c:pt>
                <c:pt idx="13">
                  <c:v>17.647218526863998</c:v>
                </c:pt>
                <c:pt idx="14">
                  <c:v>17.039882388555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rachatice</c:v>
                </c:pt>
                <c:pt idx="1">
                  <c:v>České Budějovice</c:v>
                </c:pt>
                <c:pt idx="2">
                  <c:v>Jihlava</c:v>
                </c:pt>
                <c:pt idx="3">
                  <c:v>Vsetín</c:v>
                </c:pt>
                <c:pt idx="4">
                  <c:v>Zlín</c:v>
                </c:pt>
                <c:pt idx="5">
                  <c:v>Opava</c:v>
                </c:pt>
                <c:pt idx="6">
                  <c:v>Český Krumlov</c:v>
                </c:pt>
                <c:pt idx="7">
                  <c:v>Písek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Pelhřimov</c:v>
                </c:pt>
                <c:pt idx="11">
                  <c:v>Most</c:v>
                </c:pt>
                <c:pt idx="12">
                  <c:v>Děčín</c:v>
                </c:pt>
                <c:pt idx="13">
                  <c:v>Kutná Hora</c:v>
                </c:pt>
                <c:pt idx="14">
                  <c:v>Teplice</c:v>
                </c:pt>
                <c:pt idx="15">
                  <c:v>Karviná</c:v>
                </c:pt>
                <c:pt idx="16">
                  <c:v>Jindřichův Hradec</c:v>
                </c:pt>
                <c:pt idx="17">
                  <c:v>Brno-venkov</c:v>
                </c:pt>
                <c:pt idx="18">
                  <c:v>Znojmo</c:v>
                </c:pt>
                <c:pt idx="19">
                  <c:v>Třebíč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92.23978971320901</c:v>
                </c:pt>
                <c:pt idx="1">
                  <c:v>180.701673787537</c:v>
                </c:pt>
                <c:pt idx="2">
                  <c:v>180.413278417291</c:v>
                </c:pt>
                <c:pt idx="3">
                  <c:v>174.417793405612</c:v>
                </c:pt>
                <c:pt idx="4">
                  <c:v>170.09997286748799</c:v>
                </c:pt>
                <c:pt idx="5">
                  <c:v>161.147552145986</c:v>
                </c:pt>
                <c:pt idx="6">
                  <c:v>159.20462668139501</c:v>
                </c:pt>
                <c:pt idx="7">
                  <c:v>153.65918393004301</c:v>
                </c:pt>
                <c:pt idx="8">
                  <c:v>153.184718766397</c:v>
                </c:pt>
                <c:pt idx="9">
                  <c:v>151.18149588467699</c:v>
                </c:pt>
                <c:pt idx="10">
                  <c:v>147.99037371027001</c:v>
                </c:pt>
                <c:pt idx="11">
                  <c:v>147.70652057148899</c:v>
                </c:pt>
                <c:pt idx="12">
                  <c:v>144.35472665235901</c:v>
                </c:pt>
                <c:pt idx="13">
                  <c:v>142.427599303687</c:v>
                </c:pt>
                <c:pt idx="14">
                  <c:v>137.132763108962</c:v>
                </c:pt>
                <c:pt idx="15">
                  <c:v>134.781832058589</c:v>
                </c:pt>
                <c:pt idx="16">
                  <c:v>133.418603625457</c:v>
                </c:pt>
                <c:pt idx="17">
                  <c:v>133.10066683879199</c:v>
                </c:pt>
                <c:pt idx="18">
                  <c:v>132.924067126653</c:v>
                </c:pt>
                <c:pt idx="19">
                  <c:v>129.95217038173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rachatice</c:v>
                </c:pt>
                <c:pt idx="1">
                  <c:v>České Budějovice</c:v>
                </c:pt>
                <c:pt idx="2">
                  <c:v>Jihlava</c:v>
                </c:pt>
                <c:pt idx="3">
                  <c:v>Vsetín</c:v>
                </c:pt>
                <c:pt idx="4">
                  <c:v>Zlín</c:v>
                </c:pt>
                <c:pt idx="5">
                  <c:v>Opava</c:v>
                </c:pt>
                <c:pt idx="6">
                  <c:v>Český Krumlov</c:v>
                </c:pt>
                <c:pt idx="7">
                  <c:v>Písek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Pelhřimov</c:v>
                </c:pt>
                <c:pt idx="11">
                  <c:v>Most</c:v>
                </c:pt>
                <c:pt idx="12">
                  <c:v>Děčín</c:v>
                </c:pt>
                <c:pt idx="13">
                  <c:v>Kutná Hora</c:v>
                </c:pt>
                <c:pt idx="14">
                  <c:v>Teplice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400.17262348463998</c:v>
                </c:pt>
                <c:pt idx="1">
                  <c:v>597.74480227459503</c:v>
                </c:pt>
                <c:pt idx="2">
                  <c:v>551.80061252508096</c:v>
                </c:pt>
                <c:pt idx="3">
                  <c:v>427.67242943055999</c:v>
                </c:pt>
                <c:pt idx="4">
                  <c:v>487.34164005593402</c:v>
                </c:pt>
                <c:pt idx="5">
                  <c:v>364.85167616151</c:v>
                </c:pt>
                <c:pt idx="6">
                  <c:v>557.21619338488495</c:v>
                </c:pt>
                <c:pt idx="7">
                  <c:v>539.20404542724202</c:v>
                </c:pt>
                <c:pt idx="8">
                  <c:v>498.48507930059702</c:v>
                </c:pt>
                <c:pt idx="9">
                  <c:v>351.09091193053098</c:v>
                </c:pt>
                <c:pt idx="10">
                  <c:v>535.25490304555797</c:v>
                </c:pt>
                <c:pt idx="11">
                  <c:v>638.27120707558902</c:v>
                </c:pt>
                <c:pt idx="12">
                  <c:v>671.59685661793003</c:v>
                </c:pt>
                <c:pt idx="13">
                  <c:v>462.88969773698301</c:v>
                </c:pt>
                <c:pt idx="14">
                  <c:v>543.88248419486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rachatice</c:v>
                </c:pt>
                <c:pt idx="1">
                  <c:v>České Budějovice</c:v>
                </c:pt>
                <c:pt idx="2">
                  <c:v>Jihlava</c:v>
                </c:pt>
                <c:pt idx="3">
                  <c:v>Vsetín</c:v>
                </c:pt>
                <c:pt idx="4">
                  <c:v>Zlín</c:v>
                </c:pt>
                <c:pt idx="5">
                  <c:v>Opava</c:v>
                </c:pt>
                <c:pt idx="6">
                  <c:v>Český Krumlov</c:v>
                </c:pt>
                <c:pt idx="7">
                  <c:v>Písek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Pelhřimov</c:v>
                </c:pt>
                <c:pt idx="11">
                  <c:v>Most</c:v>
                </c:pt>
                <c:pt idx="12">
                  <c:v>Děčín</c:v>
                </c:pt>
                <c:pt idx="13">
                  <c:v>Kutná Hora</c:v>
                </c:pt>
                <c:pt idx="14">
                  <c:v>Teplice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74.67142689002998</c:v>
                </c:pt>
                <c:pt idx="1">
                  <c:v>439.50322353409501</c:v>
                </c:pt>
                <c:pt idx="2">
                  <c:v>405.70986024571403</c:v>
                </c:pt>
                <c:pt idx="3">
                  <c:v>385.81215901321298</c:v>
                </c:pt>
                <c:pt idx="4">
                  <c:v>410.64011854820097</c:v>
                </c:pt>
                <c:pt idx="5">
                  <c:v>247.96295875984401</c:v>
                </c:pt>
                <c:pt idx="6">
                  <c:v>414.25693677301899</c:v>
                </c:pt>
                <c:pt idx="7">
                  <c:v>314.30287622054198</c:v>
                </c:pt>
                <c:pt idx="8">
                  <c:v>525.56746051896596</c:v>
                </c:pt>
                <c:pt idx="9">
                  <c:v>309.85959487107402</c:v>
                </c:pt>
                <c:pt idx="10">
                  <c:v>362.36895244944799</c:v>
                </c:pt>
                <c:pt idx="11">
                  <c:v>381.35138038457399</c:v>
                </c:pt>
                <c:pt idx="12">
                  <c:v>431.52027913726801</c:v>
                </c:pt>
                <c:pt idx="13">
                  <c:v>255.842169119586</c:v>
                </c:pt>
                <c:pt idx="14">
                  <c:v>337.021197471178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rachatice</c:v>
                </c:pt>
                <c:pt idx="1">
                  <c:v>České Budějovice</c:v>
                </c:pt>
                <c:pt idx="2">
                  <c:v>Jihlava</c:v>
                </c:pt>
                <c:pt idx="3">
                  <c:v>Vsetín</c:v>
                </c:pt>
                <c:pt idx="4">
                  <c:v>Zlín</c:v>
                </c:pt>
                <c:pt idx="5">
                  <c:v>Opava</c:v>
                </c:pt>
                <c:pt idx="6">
                  <c:v>Český Krumlov</c:v>
                </c:pt>
                <c:pt idx="7">
                  <c:v>Písek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Pelhřimov</c:v>
                </c:pt>
                <c:pt idx="11">
                  <c:v>Most</c:v>
                </c:pt>
                <c:pt idx="12">
                  <c:v>Děčín</c:v>
                </c:pt>
                <c:pt idx="13">
                  <c:v>Kutná Hora</c:v>
                </c:pt>
                <c:pt idx="14">
                  <c:v>Teplice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92.23978971320901</c:v>
                </c:pt>
                <c:pt idx="1">
                  <c:v>180.701673787537</c:v>
                </c:pt>
                <c:pt idx="2">
                  <c:v>180.413278417291</c:v>
                </c:pt>
                <c:pt idx="3">
                  <c:v>174.417793405612</c:v>
                </c:pt>
                <c:pt idx="4">
                  <c:v>170.09997286748799</c:v>
                </c:pt>
                <c:pt idx="5">
                  <c:v>161.147552145986</c:v>
                </c:pt>
                <c:pt idx="6">
                  <c:v>159.20462668139501</c:v>
                </c:pt>
                <c:pt idx="7">
                  <c:v>153.65918393004301</c:v>
                </c:pt>
                <c:pt idx="8">
                  <c:v>153.184718766397</c:v>
                </c:pt>
                <c:pt idx="9">
                  <c:v>151.18149588467699</c:v>
                </c:pt>
                <c:pt idx="10">
                  <c:v>147.99037371027001</c:v>
                </c:pt>
                <c:pt idx="11">
                  <c:v>147.70652057148899</c:v>
                </c:pt>
                <c:pt idx="12">
                  <c:v>144.35472665235901</c:v>
                </c:pt>
                <c:pt idx="13">
                  <c:v>142.427599303687</c:v>
                </c:pt>
                <c:pt idx="14">
                  <c:v>137.132763108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Rokycany</c:v>
                </c:pt>
                <c:pt idx="1">
                  <c:v>Klatovy</c:v>
                </c:pt>
                <c:pt idx="2">
                  <c:v>Kutná Hora</c:v>
                </c:pt>
                <c:pt idx="3">
                  <c:v>Brno-venkov</c:v>
                </c:pt>
                <c:pt idx="4">
                  <c:v>Liberec</c:v>
                </c:pt>
                <c:pt idx="5">
                  <c:v>Mladá Boleslav</c:v>
                </c:pt>
                <c:pt idx="6">
                  <c:v>Opava</c:v>
                </c:pt>
                <c:pt idx="7">
                  <c:v>Jablonec nad Nisou</c:v>
                </c:pt>
                <c:pt idx="8">
                  <c:v>Sokolov</c:v>
                </c:pt>
                <c:pt idx="9">
                  <c:v>Jihlava</c:v>
                </c:pt>
                <c:pt idx="10">
                  <c:v>Rakovník</c:v>
                </c:pt>
                <c:pt idx="11">
                  <c:v>Třebíč</c:v>
                </c:pt>
                <c:pt idx="12">
                  <c:v>Mělník</c:v>
                </c:pt>
                <c:pt idx="13">
                  <c:v>Jičín</c:v>
                </c:pt>
                <c:pt idx="14">
                  <c:v>Praha-západ</c:v>
                </c:pt>
                <c:pt idx="15">
                  <c:v>Frýdek-Místek</c:v>
                </c:pt>
                <c:pt idx="16">
                  <c:v>Prachatice</c:v>
                </c:pt>
                <c:pt idx="17">
                  <c:v>Chrudim</c:v>
                </c:pt>
                <c:pt idx="18">
                  <c:v>Svitavy</c:v>
                </c:pt>
                <c:pt idx="19">
                  <c:v>Kolín</c:v>
                </c:pt>
              </c:strCache>
            </c:strRef>
          </c:cat>
          <c:val>
            <c:numRef>
              <c:f>Sheet1!$B$2:$B$21</c:f>
              <c:numCache>
                <c:formatCode>[$-10405]#\ ##0.00;\(#\ ##0.00\)</c:formatCode>
                <c:ptCount val="20"/>
                <c:pt idx="0">
                  <c:v>1.461538461538</c:v>
                </c:pt>
                <c:pt idx="1">
                  <c:v>1.2307692307689999</c:v>
                </c:pt>
                <c:pt idx="2">
                  <c:v>1.0693069306930001</c:v>
                </c:pt>
                <c:pt idx="3">
                  <c:v>1.0565371024729999</c:v>
                </c:pt>
                <c:pt idx="4">
                  <c:v>1.0175438596490001</c:v>
                </c:pt>
                <c:pt idx="5">
                  <c:v>0.98113207547100001</c:v>
                </c:pt>
                <c:pt idx="6">
                  <c:v>0.97260273972599998</c:v>
                </c:pt>
                <c:pt idx="7">
                  <c:v>0.97058823529399996</c:v>
                </c:pt>
                <c:pt idx="8">
                  <c:v>0.96875</c:v>
                </c:pt>
                <c:pt idx="9">
                  <c:v>0.94470046082900005</c:v>
                </c:pt>
                <c:pt idx="10">
                  <c:v>0.91666666666600005</c:v>
                </c:pt>
                <c:pt idx="11">
                  <c:v>0.91139240506300001</c:v>
                </c:pt>
                <c:pt idx="12">
                  <c:v>0.90647482014299996</c:v>
                </c:pt>
                <c:pt idx="13">
                  <c:v>0.89583333333299997</c:v>
                </c:pt>
                <c:pt idx="14">
                  <c:v>0.89393939393900002</c:v>
                </c:pt>
                <c:pt idx="15">
                  <c:v>0.89354838709600004</c:v>
                </c:pt>
                <c:pt idx="16">
                  <c:v>0.89090909090899995</c:v>
                </c:pt>
                <c:pt idx="17">
                  <c:v>0.88321167883200002</c:v>
                </c:pt>
                <c:pt idx="18">
                  <c:v>0.881944444444</c:v>
                </c:pt>
                <c:pt idx="19">
                  <c:v>0.881188118811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0;\(#\ ##0.0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95-46D0-9E9A-80A1B05F1D96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95-46D0-9E9A-80A1B05F1D96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895-46D0-9E9A-80A1B05F1D96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rachatice</c:v>
                </c:pt>
                <c:pt idx="1">
                  <c:v>Český Krumlov</c:v>
                </c:pt>
                <c:pt idx="2">
                  <c:v>Klatovy</c:v>
                </c:pt>
                <c:pt idx="3">
                  <c:v>České Budějovice</c:v>
                </c:pt>
                <c:pt idx="4">
                  <c:v>Pelhřimov</c:v>
                </c:pt>
                <c:pt idx="5">
                  <c:v>Svitavy</c:v>
                </c:pt>
                <c:pt idx="6">
                  <c:v>Strakonice</c:v>
                </c:pt>
                <c:pt idx="7">
                  <c:v>Přerov</c:v>
                </c:pt>
                <c:pt idx="8">
                  <c:v>Prostějov</c:v>
                </c:pt>
                <c:pt idx="9">
                  <c:v>Olomouc</c:v>
                </c:pt>
                <c:pt idx="10">
                  <c:v>Šumperk</c:v>
                </c:pt>
                <c:pt idx="11">
                  <c:v>Kroměříž</c:v>
                </c:pt>
                <c:pt idx="12">
                  <c:v>Žďár nad Sázavou</c:v>
                </c:pt>
                <c:pt idx="13">
                  <c:v>Beroun</c:v>
                </c:pt>
                <c:pt idx="14">
                  <c:v>Brno-venkov</c:v>
                </c:pt>
                <c:pt idx="15">
                  <c:v>Vsetín</c:v>
                </c:pt>
                <c:pt idx="16">
                  <c:v>Blansko</c:v>
                </c:pt>
                <c:pt idx="17">
                  <c:v>Rokycany</c:v>
                </c:pt>
                <c:pt idx="18">
                  <c:v>Kutná Hora</c:v>
                </c:pt>
                <c:pt idx="19">
                  <c:v>Písek</c:v>
                </c:pt>
              </c:strCache>
            </c:strRef>
          </c:cat>
          <c:val>
            <c:numRef>
              <c:f>Sheet1!$B$2:$B$21</c:f>
              <c:numCache>
                <c:formatCode>[$-10405]0.0\ %</c:formatCode>
                <c:ptCount val="20"/>
                <c:pt idx="0">
                  <c:v>0.143906020558</c:v>
                </c:pt>
                <c:pt idx="1">
                  <c:v>0.13725490196000001</c:v>
                </c:pt>
                <c:pt idx="2">
                  <c:v>0.13574660633399999</c:v>
                </c:pt>
                <c:pt idx="3">
                  <c:v>0.12692307692300001</c:v>
                </c:pt>
                <c:pt idx="4">
                  <c:v>0.113590263691</c:v>
                </c:pt>
                <c:pt idx="5">
                  <c:v>0.111306385471</c:v>
                </c:pt>
                <c:pt idx="6">
                  <c:v>0.106100795755</c:v>
                </c:pt>
                <c:pt idx="7">
                  <c:v>0.104579630895</c:v>
                </c:pt>
                <c:pt idx="8">
                  <c:v>0.10435571687799999</c:v>
                </c:pt>
                <c:pt idx="9">
                  <c:v>0.101046124583</c:v>
                </c:pt>
                <c:pt idx="10">
                  <c:v>9.8981077146999996E-2</c:v>
                </c:pt>
                <c:pt idx="11">
                  <c:v>9.7306689833999996E-2</c:v>
                </c:pt>
                <c:pt idx="12">
                  <c:v>9.7087378639999999E-2</c:v>
                </c:pt>
                <c:pt idx="13">
                  <c:v>9.6994535519000002E-2</c:v>
                </c:pt>
                <c:pt idx="14">
                  <c:v>9.5615103532000006E-2</c:v>
                </c:pt>
                <c:pt idx="15">
                  <c:v>9.4162511000000004E-2</c:v>
                </c:pt>
                <c:pt idx="16">
                  <c:v>9.2233009707999997E-2</c:v>
                </c:pt>
                <c:pt idx="17">
                  <c:v>8.9411764704999994E-2</c:v>
                </c:pt>
                <c:pt idx="18">
                  <c:v>8.6921850078999996E-2</c:v>
                </c:pt>
                <c:pt idx="19">
                  <c:v>8.5537918870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895-46D0-9E9A-80A1B05F1D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96</c:f>
              <c:numCache>
                <c:formatCode>m/d/yyyy</c:formatCode>
                <c:ptCount val="9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</c:numCache>
            </c:numRef>
          </c:cat>
          <c:val>
            <c:numRef>
              <c:f>Sheet1!$B$1:$B$96</c:f>
              <c:numCache>
                <c:formatCode>General</c:formatCode>
                <c:ptCount val="96"/>
                <c:pt idx="0">
                  <c:v>55069</c:v>
                </c:pt>
                <c:pt idx="1">
                  <c:v>33741</c:v>
                </c:pt>
                <c:pt idx="2">
                  <c:v>33071</c:v>
                </c:pt>
                <c:pt idx="3">
                  <c:v>33798</c:v>
                </c:pt>
                <c:pt idx="4">
                  <c:v>36455</c:v>
                </c:pt>
                <c:pt idx="5">
                  <c:v>17188</c:v>
                </c:pt>
                <c:pt idx="6">
                  <c:v>16739</c:v>
                </c:pt>
                <c:pt idx="7">
                  <c:v>55467</c:v>
                </c:pt>
                <c:pt idx="8">
                  <c:v>36871</c:v>
                </c:pt>
                <c:pt idx="9">
                  <c:v>35152</c:v>
                </c:pt>
                <c:pt idx="10">
                  <c:v>35424</c:v>
                </c:pt>
                <c:pt idx="11">
                  <c:v>40590</c:v>
                </c:pt>
                <c:pt idx="12">
                  <c:v>19474</c:v>
                </c:pt>
                <c:pt idx="13">
                  <c:v>20519</c:v>
                </c:pt>
                <c:pt idx="14">
                  <c:v>63523</c:v>
                </c:pt>
                <c:pt idx="15">
                  <c:v>44530</c:v>
                </c:pt>
                <c:pt idx="16">
                  <c:v>43213</c:v>
                </c:pt>
                <c:pt idx="17">
                  <c:v>44906</c:v>
                </c:pt>
                <c:pt idx="18">
                  <c:v>48974</c:v>
                </c:pt>
                <c:pt idx="19">
                  <c:v>21222</c:v>
                </c:pt>
                <c:pt idx="20">
                  <c:v>25440</c:v>
                </c:pt>
                <c:pt idx="21">
                  <c:v>75093</c:v>
                </c:pt>
                <c:pt idx="22">
                  <c:v>56058</c:v>
                </c:pt>
                <c:pt idx="23">
                  <c:v>56928</c:v>
                </c:pt>
                <c:pt idx="24">
                  <c:v>57293</c:v>
                </c:pt>
                <c:pt idx="25">
                  <c:v>60735</c:v>
                </c:pt>
                <c:pt idx="26">
                  <c:v>27235</c:v>
                </c:pt>
                <c:pt idx="27">
                  <c:v>28411</c:v>
                </c:pt>
                <c:pt idx="28">
                  <c:v>91248</c:v>
                </c:pt>
                <c:pt idx="29">
                  <c:v>70999</c:v>
                </c:pt>
                <c:pt idx="30">
                  <c:v>73885</c:v>
                </c:pt>
                <c:pt idx="31">
                  <c:v>87633</c:v>
                </c:pt>
                <c:pt idx="32">
                  <c:v>93424</c:v>
                </c:pt>
                <c:pt idx="33">
                  <c:v>35058</c:v>
                </c:pt>
                <c:pt idx="34">
                  <c:v>35575</c:v>
                </c:pt>
                <c:pt idx="35">
                  <c:v>167589</c:v>
                </c:pt>
                <c:pt idx="36">
                  <c:v>166079</c:v>
                </c:pt>
                <c:pt idx="37">
                  <c:v>168831</c:v>
                </c:pt>
                <c:pt idx="38">
                  <c:v>184651</c:v>
                </c:pt>
                <c:pt idx="39">
                  <c:v>155010</c:v>
                </c:pt>
                <c:pt idx="40">
                  <c:v>48665</c:v>
                </c:pt>
                <c:pt idx="41">
                  <c:v>51286</c:v>
                </c:pt>
                <c:pt idx="42">
                  <c:v>225743</c:v>
                </c:pt>
                <c:pt idx="43">
                  <c:v>192775</c:v>
                </c:pt>
                <c:pt idx="44">
                  <c:v>187620</c:v>
                </c:pt>
                <c:pt idx="45">
                  <c:v>186191</c:v>
                </c:pt>
                <c:pt idx="46">
                  <c:v>152363</c:v>
                </c:pt>
                <c:pt idx="47">
                  <c:v>47321</c:v>
                </c:pt>
                <c:pt idx="48">
                  <c:v>51815</c:v>
                </c:pt>
                <c:pt idx="49">
                  <c:v>243182</c:v>
                </c:pt>
                <c:pt idx="50">
                  <c:v>213357</c:v>
                </c:pt>
                <c:pt idx="51">
                  <c:v>201466</c:v>
                </c:pt>
                <c:pt idx="52">
                  <c:v>198438</c:v>
                </c:pt>
                <c:pt idx="53">
                  <c:v>153445</c:v>
                </c:pt>
                <c:pt idx="54">
                  <c:v>39374</c:v>
                </c:pt>
                <c:pt idx="55">
                  <c:v>44272</c:v>
                </c:pt>
                <c:pt idx="56">
                  <c:v>257534</c:v>
                </c:pt>
                <c:pt idx="57">
                  <c:v>216776</c:v>
                </c:pt>
                <c:pt idx="58">
                  <c:v>207246</c:v>
                </c:pt>
                <c:pt idx="59">
                  <c:v>233775</c:v>
                </c:pt>
                <c:pt idx="60">
                  <c:v>49132</c:v>
                </c:pt>
                <c:pt idx="61">
                  <c:v>35202</c:v>
                </c:pt>
                <c:pt idx="62">
                  <c:v>35256</c:v>
                </c:pt>
                <c:pt idx="63">
                  <c:v>53238</c:v>
                </c:pt>
                <c:pt idx="64">
                  <c:v>356999</c:v>
                </c:pt>
                <c:pt idx="65">
                  <c:v>238498</c:v>
                </c:pt>
                <c:pt idx="66">
                  <c:v>211653</c:v>
                </c:pt>
                <c:pt idx="67">
                  <c:v>149607</c:v>
                </c:pt>
                <c:pt idx="68">
                  <c:v>41455</c:v>
                </c:pt>
                <c:pt idx="69">
                  <c:v>52759</c:v>
                </c:pt>
                <c:pt idx="70">
                  <c:v>270107</c:v>
                </c:pt>
                <c:pt idx="71">
                  <c:v>235335</c:v>
                </c:pt>
                <c:pt idx="72">
                  <c:v>211761</c:v>
                </c:pt>
                <c:pt idx="73">
                  <c:v>207865</c:v>
                </c:pt>
                <c:pt idx="74">
                  <c:v>137583</c:v>
                </c:pt>
                <c:pt idx="75">
                  <c:v>39733</c:v>
                </c:pt>
                <c:pt idx="76">
                  <c:v>58055</c:v>
                </c:pt>
                <c:pt idx="77">
                  <c:v>268047</c:v>
                </c:pt>
                <c:pt idx="78">
                  <c:v>228107</c:v>
                </c:pt>
                <c:pt idx="79">
                  <c:v>205891</c:v>
                </c:pt>
                <c:pt idx="80">
                  <c:v>208693</c:v>
                </c:pt>
                <c:pt idx="81">
                  <c:v>140690</c:v>
                </c:pt>
                <c:pt idx="82">
                  <c:v>44110</c:v>
                </c:pt>
                <c:pt idx="83">
                  <c:v>53547</c:v>
                </c:pt>
                <c:pt idx="84">
                  <c:v>262532</c:v>
                </c:pt>
                <c:pt idx="85">
                  <c:v>228382</c:v>
                </c:pt>
                <c:pt idx="86">
                  <c:v>204503</c:v>
                </c:pt>
                <c:pt idx="87">
                  <c:v>209232</c:v>
                </c:pt>
                <c:pt idx="88">
                  <c:v>142966</c:v>
                </c:pt>
                <c:pt idx="89">
                  <c:v>32623</c:v>
                </c:pt>
                <c:pt idx="90">
                  <c:v>64281</c:v>
                </c:pt>
                <c:pt idx="91">
                  <c:v>287202</c:v>
                </c:pt>
                <c:pt idx="92">
                  <c:v>224811</c:v>
                </c:pt>
                <c:pt idx="93">
                  <c:v>195946</c:v>
                </c:pt>
                <c:pt idx="94">
                  <c:v>189881</c:v>
                </c:pt>
                <c:pt idx="95">
                  <c:v>121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7773224572899825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239.61759633488799</c:v>
                </c:pt>
                <c:pt idx="1">
                  <c:v>222.91644325211885</c:v>
                </c:pt>
                <c:pt idx="2">
                  <c:v>223.268046474914</c:v>
                </c:pt>
                <c:pt idx="3">
                  <c:v>246.64966079079082</c:v>
                </c:pt>
                <c:pt idx="4">
                  <c:v>263.70241709635508</c:v>
                </c:pt>
                <c:pt idx="5">
                  <c:v>333.84726004398556</c:v>
                </c:pt>
                <c:pt idx="6">
                  <c:v>440.55883816231062</c:v>
                </c:pt>
                <c:pt idx="7">
                  <c:v>449.52472034358669</c:v>
                </c:pt>
                <c:pt idx="8">
                  <c:v>378.50086933896836</c:v>
                </c:pt>
                <c:pt idx="9">
                  <c:v>332.9682519869977</c:v>
                </c:pt>
                <c:pt idx="10">
                  <c:v>275.83272828278746</c:v>
                </c:pt>
                <c:pt idx="11">
                  <c:v>197.77681282226632</c:v>
                </c:pt>
                <c:pt idx="12">
                  <c:v>151.71679063610296</c:v>
                </c:pt>
                <c:pt idx="13">
                  <c:v>138.35586816988766</c:v>
                </c:pt>
                <c:pt idx="14">
                  <c:v>105.65676844993961</c:v>
                </c:pt>
                <c:pt idx="15">
                  <c:v>94.581266931892699</c:v>
                </c:pt>
                <c:pt idx="16">
                  <c:v>76.297899346545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434.82237543043465</c:v>
                </c:pt>
                <c:pt idx="1">
                  <c:v>414.4284891467446</c:v>
                </c:pt>
                <c:pt idx="2">
                  <c:v>393.29300699819305</c:v>
                </c:pt>
                <c:pt idx="3">
                  <c:v>441.86753614661853</c:v>
                </c:pt>
                <c:pt idx="4">
                  <c:v>482.90250733561919</c:v>
                </c:pt>
                <c:pt idx="5">
                  <c:v>633.07566997006438</c:v>
                </c:pt>
                <c:pt idx="6">
                  <c:v>772.00129532077744</c:v>
                </c:pt>
                <c:pt idx="7">
                  <c:v>718.60639305075244</c:v>
                </c:pt>
                <c:pt idx="8">
                  <c:v>558.2980869298674</c:v>
                </c:pt>
                <c:pt idx="9">
                  <c:v>446.68790926821799</c:v>
                </c:pt>
                <c:pt idx="10">
                  <c:v>354.85362133620748</c:v>
                </c:pt>
                <c:pt idx="11">
                  <c:v>250.28860439074197</c:v>
                </c:pt>
                <c:pt idx="12">
                  <c:v>196.64650349909653</c:v>
                </c:pt>
                <c:pt idx="13">
                  <c:v>196.89370212071699</c:v>
                </c:pt>
                <c:pt idx="14">
                  <c:v>170.69064822894549</c:v>
                </c:pt>
                <c:pt idx="15">
                  <c:v>145.10559089122521</c:v>
                </c:pt>
                <c:pt idx="16">
                  <c:v>116.80134871567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479.30320864127907</c:v>
                </c:pt>
                <c:pt idx="1">
                  <c:v>380.45617719903794</c:v>
                </c:pt>
                <c:pt idx="2">
                  <c:v>371.07743264272045</c:v>
                </c:pt>
                <c:pt idx="3">
                  <c:v>402.17537511893113</c:v>
                </c:pt>
                <c:pt idx="4">
                  <c:v>429.57118158606909</c:v>
                </c:pt>
                <c:pt idx="5">
                  <c:v>544.21399333368709</c:v>
                </c:pt>
                <c:pt idx="6">
                  <c:v>713.27820441467384</c:v>
                </c:pt>
                <c:pt idx="7">
                  <c:v>752.15063250993717</c:v>
                </c:pt>
                <c:pt idx="8">
                  <c:v>730.43143459004398</c:v>
                </c:pt>
                <c:pt idx="9">
                  <c:v>632.07802128234584</c:v>
                </c:pt>
                <c:pt idx="10">
                  <c:v>474.98404996402758</c:v>
                </c:pt>
                <c:pt idx="11">
                  <c:v>353.30717979917148</c:v>
                </c:pt>
                <c:pt idx="12">
                  <c:v>271.36656946502899</c:v>
                </c:pt>
                <c:pt idx="13">
                  <c:v>240.76224512336134</c:v>
                </c:pt>
                <c:pt idx="14">
                  <c:v>175.97486496458907</c:v>
                </c:pt>
                <c:pt idx="15">
                  <c:v>154.87268971287466</c:v>
                </c:pt>
                <c:pt idx="16">
                  <c:v>118.96197042486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400.55167824983823</c:v>
                </c:pt>
                <c:pt idx="1">
                  <c:v>352.06504611942427</c:v>
                </c:pt>
                <c:pt idx="2">
                  <c:v>340.86879270570944</c:v>
                </c:pt>
                <c:pt idx="3">
                  <c:v>376.42260966844464</c:v>
                </c:pt>
                <c:pt idx="4">
                  <c:v>406.17265445345834</c:v>
                </c:pt>
                <c:pt idx="5">
                  <c:v>522.38519498846563</c:v>
                </c:pt>
                <c:pt idx="6">
                  <c:v>664.09777391062744</c:v>
                </c:pt>
                <c:pt idx="7">
                  <c:v>661.08164033795322</c:v>
                </c:pt>
                <c:pt idx="8">
                  <c:v>575.30462949084006</c:v>
                </c:pt>
                <c:pt idx="9">
                  <c:v>485.78030117464692</c:v>
                </c:pt>
                <c:pt idx="10">
                  <c:v>378.79895733176375</c:v>
                </c:pt>
                <c:pt idx="11">
                  <c:v>274.78804806802935</c:v>
                </c:pt>
                <c:pt idx="12">
                  <c:v>212.63741687353078</c:v>
                </c:pt>
                <c:pt idx="13">
                  <c:v>197.92234095836272</c:v>
                </c:pt>
                <c:pt idx="14">
                  <c:v>155.74216993444935</c:v>
                </c:pt>
                <c:pt idx="15">
                  <c:v>135.5889137897627</c:v>
                </c:pt>
                <c:pt idx="16">
                  <c:v>107.07274182993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542.84955244274715</c:v>
                </c:pt>
                <c:pt idx="1">
                  <c:v>452.2655309703967</c:v>
                </c:pt>
                <c:pt idx="2">
                  <c:v>441.12838122604143</c:v>
                </c:pt>
                <c:pt idx="3">
                  <c:v>468.94787785866686</c:v>
                </c:pt>
                <c:pt idx="4">
                  <c:v>495.93512736513981</c:v>
                </c:pt>
                <c:pt idx="5">
                  <c:v>608.68123523053987</c:v>
                </c:pt>
                <c:pt idx="6">
                  <c:v>769.49195240407266</c:v>
                </c:pt>
                <c:pt idx="7">
                  <c:v>802.95015709366385</c:v>
                </c:pt>
                <c:pt idx="8">
                  <c:v>726.40212367024469</c:v>
                </c:pt>
                <c:pt idx="9">
                  <c:v>615.6758515267428</c:v>
                </c:pt>
                <c:pt idx="10">
                  <c:v>467.97536436293808</c:v>
                </c:pt>
                <c:pt idx="11">
                  <c:v>344.17626657492855</c:v>
                </c:pt>
                <c:pt idx="12">
                  <c:v>264.42080883386552</c:v>
                </c:pt>
                <c:pt idx="13">
                  <c:v>202.34826475071671</c:v>
                </c:pt>
                <c:pt idx="14">
                  <c:v>163.40096946504107</c:v>
                </c:pt>
                <c:pt idx="15">
                  <c:v>137.39558454560196</c:v>
                </c:pt>
                <c:pt idx="16">
                  <c:v>102.28223669501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96</c:f>
              <c:numCache>
                <c:formatCode>m/d/yyyy</c:formatCode>
                <c:ptCount val="9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</c:numCache>
            </c:numRef>
          </c:cat>
          <c:val>
            <c:numRef>
              <c:f>Sheet1!$B$1:$B$96</c:f>
              <c:numCache>
                <c:formatCode>General</c:formatCode>
                <c:ptCount val="96"/>
                <c:pt idx="0">
                  <c:v>27495</c:v>
                </c:pt>
                <c:pt idx="1">
                  <c:v>29984</c:v>
                </c:pt>
                <c:pt idx="2">
                  <c:v>31796</c:v>
                </c:pt>
                <c:pt idx="3">
                  <c:v>27744</c:v>
                </c:pt>
                <c:pt idx="4">
                  <c:v>31194</c:v>
                </c:pt>
                <c:pt idx="5">
                  <c:v>14899</c:v>
                </c:pt>
                <c:pt idx="6">
                  <c:v>7819</c:v>
                </c:pt>
                <c:pt idx="7">
                  <c:v>25605</c:v>
                </c:pt>
                <c:pt idx="8">
                  <c:v>31375</c:v>
                </c:pt>
                <c:pt idx="9">
                  <c:v>29928</c:v>
                </c:pt>
                <c:pt idx="10">
                  <c:v>28230</c:v>
                </c:pt>
                <c:pt idx="11">
                  <c:v>31058</c:v>
                </c:pt>
                <c:pt idx="12">
                  <c:v>16458</c:v>
                </c:pt>
                <c:pt idx="13">
                  <c:v>8388</c:v>
                </c:pt>
                <c:pt idx="14">
                  <c:v>29117</c:v>
                </c:pt>
                <c:pt idx="15">
                  <c:v>34541</c:v>
                </c:pt>
                <c:pt idx="16">
                  <c:v>32781</c:v>
                </c:pt>
                <c:pt idx="17">
                  <c:v>34073</c:v>
                </c:pt>
                <c:pt idx="18">
                  <c:v>37505</c:v>
                </c:pt>
                <c:pt idx="19">
                  <c:v>18806</c:v>
                </c:pt>
                <c:pt idx="20">
                  <c:v>9572</c:v>
                </c:pt>
                <c:pt idx="21">
                  <c:v>33899</c:v>
                </c:pt>
                <c:pt idx="22">
                  <c:v>40914</c:v>
                </c:pt>
                <c:pt idx="23">
                  <c:v>40169</c:v>
                </c:pt>
                <c:pt idx="24">
                  <c:v>39765</c:v>
                </c:pt>
                <c:pt idx="25">
                  <c:v>41855</c:v>
                </c:pt>
                <c:pt idx="26">
                  <c:v>23065</c:v>
                </c:pt>
                <c:pt idx="27">
                  <c:v>11706</c:v>
                </c:pt>
                <c:pt idx="28">
                  <c:v>35103</c:v>
                </c:pt>
                <c:pt idx="29">
                  <c:v>44561</c:v>
                </c:pt>
                <c:pt idx="30">
                  <c:v>41146</c:v>
                </c:pt>
                <c:pt idx="31">
                  <c:v>39854</c:v>
                </c:pt>
                <c:pt idx="32">
                  <c:v>42795</c:v>
                </c:pt>
                <c:pt idx="33">
                  <c:v>22005</c:v>
                </c:pt>
                <c:pt idx="34">
                  <c:v>11096</c:v>
                </c:pt>
                <c:pt idx="35">
                  <c:v>32804</c:v>
                </c:pt>
                <c:pt idx="36">
                  <c:v>39767</c:v>
                </c:pt>
                <c:pt idx="37">
                  <c:v>40974</c:v>
                </c:pt>
                <c:pt idx="38">
                  <c:v>35277</c:v>
                </c:pt>
                <c:pt idx="39">
                  <c:v>39756</c:v>
                </c:pt>
                <c:pt idx="40">
                  <c:v>17575</c:v>
                </c:pt>
                <c:pt idx="41">
                  <c:v>8271</c:v>
                </c:pt>
                <c:pt idx="42">
                  <c:v>33473</c:v>
                </c:pt>
                <c:pt idx="43">
                  <c:v>37363</c:v>
                </c:pt>
                <c:pt idx="44">
                  <c:v>34331</c:v>
                </c:pt>
                <c:pt idx="45">
                  <c:v>30842</c:v>
                </c:pt>
                <c:pt idx="46">
                  <c:v>32085</c:v>
                </c:pt>
                <c:pt idx="47">
                  <c:v>17104</c:v>
                </c:pt>
                <c:pt idx="48">
                  <c:v>7951</c:v>
                </c:pt>
                <c:pt idx="49">
                  <c:v>29594</c:v>
                </c:pt>
                <c:pt idx="50">
                  <c:v>33537</c:v>
                </c:pt>
                <c:pt idx="51">
                  <c:v>28209</c:v>
                </c:pt>
                <c:pt idx="52">
                  <c:v>27727</c:v>
                </c:pt>
                <c:pt idx="53">
                  <c:v>27101</c:v>
                </c:pt>
                <c:pt idx="54">
                  <c:v>12613</c:v>
                </c:pt>
                <c:pt idx="55">
                  <c:v>6308</c:v>
                </c:pt>
                <c:pt idx="56">
                  <c:v>26996</c:v>
                </c:pt>
                <c:pt idx="57">
                  <c:v>28964</c:v>
                </c:pt>
                <c:pt idx="58">
                  <c:v>26001</c:v>
                </c:pt>
                <c:pt idx="59">
                  <c:v>24831</c:v>
                </c:pt>
                <c:pt idx="60">
                  <c:v>14627</c:v>
                </c:pt>
                <c:pt idx="61">
                  <c:v>8373</c:v>
                </c:pt>
                <c:pt idx="62">
                  <c:v>7095</c:v>
                </c:pt>
                <c:pt idx="63">
                  <c:v>7596</c:v>
                </c:pt>
                <c:pt idx="64">
                  <c:v>25682</c:v>
                </c:pt>
                <c:pt idx="65">
                  <c:v>27790</c:v>
                </c:pt>
                <c:pt idx="66">
                  <c:v>22341</c:v>
                </c:pt>
                <c:pt idx="67">
                  <c:v>22715</c:v>
                </c:pt>
                <c:pt idx="68">
                  <c:v>11120</c:v>
                </c:pt>
                <c:pt idx="69">
                  <c:v>5863</c:v>
                </c:pt>
                <c:pt idx="70">
                  <c:v>21491</c:v>
                </c:pt>
                <c:pt idx="71">
                  <c:v>24259</c:v>
                </c:pt>
                <c:pt idx="72">
                  <c:v>20994</c:v>
                </c:pt>
                <c:pt idx="73">
                  <c:v>17482</c:v>
                </c:pt>
                <c:pt idx="74">
                  <c:v>19185</c:v>
                </c:pt>
                <c:pt idx="75">
                  <c:v>9756</c:v>
                </c:pt>
                <c:pt idx="76">
                  <c:v>6188</c:v>
                </c:pt>
                <c:pt idx="77">
                  <c:v>21597</c:v>
                </c:pt>
                <c:pt idx="78">
                  <c:v>22293</c:v>
                </c:pt>
                <c:pt idx="79">
                  <c:v>19216</c:v>
                </c:pt>
                <c:pt idx="80">
                  <c:v>18156</c:v>
                </c:pt>
                <c:pt idx="81">
                  <c:v>18224</c:v>
                </c:pt>
                <c:pt idx="82">
                  <c:v>9221</c:v>
                </c:pt>
                <c:pt idx="83">
                  <c:v>5399</c:v>
                </c:pt>
                <c:pt idx="84">
                  <c:v>20922</c:v>
                </c:pt>
                <c:pt idx="85">
                  <c:v>20093</c:v>
                </c:pt>
                <c:pt idx="86">
                  <c:v>19745</c:v>
                </c:pt>
                <c:pt idx="87">
                  <c:v>18903</c:v>
                </c:pt>
                <c:pt idx="88">
                  <c:v>19317</c:v>
                </c:pt>
                <c:pt idx="89">
                  <c:v>10325</c:v>
                </c:pt>
                <c:pt idx="90">
                  <c:v>5780</c:v>
                </c:pt>
                <c:pt idx="91">
                  <c:v>19688</c:v>
                </c:pt>
                <c:pt idx="92">
                  <c:v>19759</c:v>
                </c:pt>
                <c:pt idx="93">
                  <c:v>16674</c:v>
                </c:pt>
                <c:pt idx="94">
                  <c:v>15601</c:v>
                </c:pt>
                <c:pt idx="95">
                  <c:v>17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7283950617284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414725069897485E-2</c:v>
                </c:pt>
                <c:pt idx="1">
                  <c:v>3.7071797278273109E-2</c:v>
                </c:pt>
                <c:pt idx="2">
                  <c:v>3.4274952919020718E-2</c:v>
                </c:pt>
                <c:pt idx="3">
                  <c:v>4.632152588555858E-2</c:v>
                </c:pt>
                <c:pt idx="4">
                  <c:v>5.7692307692307696E-2</c:v>
                </c:pt>
                <c:pt idx="5">
                  <c:v>3.1656548135299223E-2</c:v>
                </c:pt>
                <c:pt idx="6">
                  <c:v>4.4899205864386074E-2</c:v>
                </c:pt>
                <c:pt idx="7">
                  <c:v>5.510142294883439E-2</c:v>
                </c:pt>
                <c:pt idx="8">
                  <c:v>6.3857975622681501E-2</c:v>
                </c:pt>
                <c:pt idx="9">
                  <c:v>5.5440055440055439E-2</c:v>
                </c:pt>
                <c:pt idx="10">
                  <c:v>8.7350372047880945E-2</c:v>
                </c:pt>
                <c:pt idx="11">
                  <c:v>8.0832823025107164E-2</c:v>
                </c:pt>
                <c:pt idx="12">
                  <c:v>4.1917670682730925E-2</c:v>
                </c:pt>
                <c:pt idx="13">
                  <c:v>6.3501849568434035E-2</c:v>
                </c:pt>
                <c:pt idx="14">
                  <c:v>8.5533046859013709E-2</c:v>
                </c:pt>
                <c:pt idx="15">
                  <c:v>0.10788822072868766</c:v>
                </c:pt>
                <c:pt idx="16">
                  <c:v>7.6102941176470582E-2</c:v>
                </c:pt>
                <c:pt idx="17">
                  <c:v>9.1004734350341926E-2</c:v>
                </c:pt>
                <c:pt idx="18">
                  <c:v>6.9705093833780166E-2</c:v>
                </c:pt>
                <c:pt idx="19">
                  <c:v>6.8339100346020767E-2</c:v>
                </c:pt>
                <c:pt idx="20">
                  <c:v>8.3548030916451965E-2</c:v>
                </c:pt>
                <c:pt idx="21">
                  <c:v>8.4599447513812154E-2</c:v>
                </c:pt>
                <c:pt idx="22">
                  <c:v>0.10777236864193386</c:v>
                </c:pt>
                <c:pt idx="23">
                  <c:v>0.10957004160887657</c:v>
                </c:pt>
                <c:pt idx="24">
                  <c:v>0.1163654369893538</c:v>
                </c:pt>
                <c:pt idx="25">
                  <c:v>0.10879883169039796</c:v>
                </c:pt>
                <c:pt idx="26">
                  <c:v>8.4154460719041285E-2</c:v>
                </c:pt>
                <c:pt idx="27">
                  <c:v>0.10126849894291755</c:v>
                </c:pt>
                <c:pt idx="28">
                  <c:v>0.12239784117193524</c:v>
                </c:pt>
                <c:pt idx="29">
                  <c:v>0.13125935784395276</c:v>
                </c:pt>
                <c:pt idx="30">
                  <c:v>0.1527001862197393</c:v>
                </c:pt>
                <c:pt idx="31">
                  <c:v>0.1533624931656643</c:v>
                </c:pt>
                <c:pt idx="32">
                  <c:v>0.20057971014492754</c:v>
                </c:pt>
                <c:pt idx="33">
                  <c:v>0.17349628564581834</c:v>
                </c:pt>
                <c:pt idx="34">
                  <c:v>0.16172795430203499</c:v>
                </c:pt>
                <c:pt idx="35">
                  <c:v>0.19339622641509435</c:v>
                </c:pt>
                <c:pt idx="36">
                  <c:v>0.1888870348740197</c:v>
                </c:pt>
                <c:pt idx="37">
                  <c:v>0.26269852625554441</c:v>
                </c:pt>
                <c:pt idx="38">
                  <c:v>0.22774178065754738</c:v>
                </c:pt>
                <c:pt idx="39">
                  <c:v>0.22249303621169916</c:v>
                </c:pt>
                <c:pt idx="40">
                  <c:v>0.17828525641025642</c:v>
                </c:pt>
                <c:pt idx="41">
                  <c:v>0.21202153110047847</c:v>
                </c:pt>
                <c:pt idx="42">
                  <c:v>0.22065789473684211</c:v>
                </c:pt>
                <c:pt idx="43">
                  <c:v>0.20935672514619882</c:v>
                </c:pt>
                <c:pt idx="44">
                  <c:v>0.23354744879408557</c:v>
                </c:pt>
                <c:pt idx="45">
                  <c:v>0.23082718095525087</c:v>
                </c:pt>
                <c:pt idx="46">
                  <c:v>0.23649405962788611</c:v>
                </c:pt>
                <c:pt idx="47">
                  <c:v>0.22350064720264634</c:v>
                </c:pt>
                <c:pt idx="48">
                  <c:v>0.23058149405772496</c:v>
                </c:pt>
                <c:pt idx="49">
                  <c:v>0.26345530338119499</c:v>
                </c:pt>
                <c:pt idx="50">
                  <c:v>0.25190505386704037</c:v>
                </c:pt>
                <c:pt idx="51">
                  <c:v>0.26874003189792661</c:v>
                </c:pt>
                <c:pt idx="52">
                  <c:v>0.25249401436552277</c:v>
                </c:pt>
                <c:pt idx="53">
                  <c:v>0.27591061059299665</c:v>
                </c:pt>
                <c:pt idx="54">
                  <c:v>0.25181224004753416</c:v>
                </c:pt>
                <c:pt idx="55">
                  <c:v>0.26652911097156184</c:v>
                </c:pt>
                <c:pt idx="56">
                  <c:v>0.24480655612731084</c:v>
                </c:pt>
                <c:pt idx="57">
                  <c:v>0.23385658223332145</c:v>
                </c:pt>
                <c:pt idx="58">
                  <c:v>0.23362877549264263</c:v>
                </c:pt>
                <c:pt idx="59">
                  <c:v>0.24783199247727511</c:v>
                </c:pt>
                <c:pt idx="60">
                  <c:v>0.27448650483788828</c:v>
                </c:pt>
                <c:pt idx="61">
                  <c:v>0.22029389409678238</c:v>
                </c:pt>
                <c:pt idx="62">
                  <c:v>0.22134088762983947</c:v>
                </c:pt>
                <c:pt idx="63">
                  <c:v>0.26771789984404781</c:v>
                </c:pt>
                <c:pt idx="64">
                  <c:v>0.23945837877135587</c:v>
                </c:pt>
                <c:pt idx="65">
                  <c:v>0.24683971822831227</c:v>
                </c:pt>
                <c:pt idx="66">
                  <c:v>0.26078084614338187</c:v>
                </c:pt>
                <c:pt idx="67">
                  <c:v>0.23172700023057413</c:v>
                </c:pt>
                <c:pt idx="68">
                  <c:v>0.18513824884792626</c:v>
                </c:pt>
                <c:pt idx="69">
                  <c:v>0.20020707831325302</c:v>
                </c:pt>
                <c:pt idx="70">
                  <c:v>0.20450572926781899</c:v>
                </c:pt>
                <c:pt idx="71">
                  <c:v>0.20791643760307862</c:v>
                </c:pt>
                <c:pt idx="72">
                  <c:v>0.20525433202906651</c:v>
                </c:pt>
                <c:pt idx="73">
                  <c:v>0.23633232888506242</c:v>
                </c:pt>
                <c:pt idx="74">
                  <c:v>0.21530920060331826</c:v>
                </c:pt>
                <c:pt idx="75">
                  <c:v>0.15789473684210525</c:v>
                </c:pt>
                <c:pt idx="76">
                  <c:v>0.22075939706162945</c:v>
                </c:pt>
                <c:pt idx="77">
                  <c:v>0.17901234567901234</c:v>
                </c:pt>
                <c:pt idx="78">
                  <c:v>0.2085611414855314</c:v>
                </c:pt>
                <c:pt idx="79">
                  <c:v>0.21173399285517999</c:v>
                </c:pt>
                <c:pt idx="80">
                  <c:v>0.20233550415450258</c:v>
                </c:pt>
                <c:pt idx="81">
                  <c:v>0.21248545948041878</c:v>
                </c:pt>
                <c:pt idx="82">
                  <c:v>0.13078301190852565</c:v>
                </c:pt>
                <c:pt idx="83">
                  <c:v>0.1957319559603099</c:v>
                </c:pt>
                <c:pt idx="84">
                  <c:v>0.18098202914956843</c:v>
                </c:pt>
                <c:pt idx="85">
                  <c:v>0.16399229781771502</c:v>
                </c:pt>
                <c:pt idx="86">
                  <c:v>0.17529566360052562</c:v>
                </c:pt>
                <c:pt idx="87">
                  <c:v>0.22085889570552147</c:v>
                </c:pt>
                <c:pt idx="88">
                  <c:v>0.19643716899374097</c:v>
                </c:pt>
                <c:pt idx="89">
                  <c:v>0.11116407665173038</c:v>
                </c:pt>
                <c:pt idx="90">
                  <c:v>0.18873171321484705</c:v>
                </c:pt>
                <c:pt idx="91">
                  <c:v>0.17660405899407539</c:v>
                </c:pt>
                <c:pt idx="92">
                  <c:v>0.19601100412654746</c:v>
                </c:pt>
                <c:pt idx="93">
                  <c:v>0.19801625239005735</c:v>
                </c:pt>
                <c:pt idx="94">
                  <c:v>0.26873935264054516</c:v>
                </c:pt>
                <c:pt idx="95">
                  <c:v>0.16351408154686844</c:v>
                </c:pt>
                <c:pt idx="96">
                  <c:v>0.12853185595567868</c:v>
                </c:pt>
                <c:pt idx="97">
                  <c:v>0.18699855996708495</c:v>
                </c:pt>
                <c:pt idx="98">
                  <c:v>0.19689700928855772</c:v>
                </c:pt>
                <c:pt idx="99">
                  <c:v>0.20310425814357194</c:v>
                </c:pt>
                <c:pt idx="100">
                  <c:v>0.18609443598243885</c:v>
                </c:pt>
                <c:pt idx="101">
                  <c:v>0.20874176442230435</c:v>
                </c:pt>
                <c:pt idx="102">
                  <c:v>0.21597265382224984</c:v>
                </c:pt>
                <c:pt idx="103">
                  <c:v>0.13716814159292035</c:v>
                </c:pt>
                <c:pt idx="104">
                  <c:v>0.1958353202988396</c:v>
                </c:pt>
                <c:pt idx="105">
                  <c:v>0.18205051112447385</c:v>
                </c:pt>
                <c:pt idx="106">
                  <c:v>0.17347836519235382</c:v>
                </c:pt>
                <c:pt idx="107">
                  <c:v>0.17770881122655513</c:v>
                </c:pt>
                <c:pt idx="108">
                  <c:v>0.17592795958708543</c:v>
                </c:pt>
                <c:pt idx="109">
                  <c:v>0.18652094717668488</c:v>
                </c:pt>
                <c:pt idx="110">
                  <c:v>0.14297395164116342</c:v>
                </c:pt>
                <c:pt idx="111">
                  <c:v>0.16773475981145067</c:v>
                </c:pt>
                <c:pt idx="112">
                  <c:v>0.18069750762058454</c:v>
                </c:pt>
                <c:pt idx="113">
                  <c:v>0.23415492957746478</c:v>
                </c:pt>
                <c:pt idx="114">
                  <c:v>0.21646341463414634</c:v>
                </c:pt>
                <c:pt idx="115">
                  <c:v>0.18570817287120239</c:v>
                </c:pt>
                <c:pt idx="116">
                  <c:v>0.19339214668742433</c:v>
                </c:pt>
                <c:pt idx="117">
                  <c:v>0.19942081653512009</c:v>
                </c:pt>
                <c:pt idx="118">
                  <c:v>0.26687813904308749</c:v>
                </c:pt>
                <c:pt idx="119">
                  <c:v>0.26765015806111697</c:v>
                </c:pt>
                <c:pt idx="120">
                  <c:v>0.2992245814914124</c:v>
                </c:pt>
                <c:pt idx="121">
                  <c:v>0.35364667747163697</c:v>
                </c:pt>
                <c:pt idx="122">
                  <c:v>0.20375994215473608</c:v>
                </c:pt>
                <c:pt idx="123">
                  <c:v>0.2574440052700922</c:v>
                </c:pt>
                <c:pt idx="124">
                  <c:v>0.1951039669665241</c:v>
                </c:pt>
                <c:pt idx="125">
                  <c:v>0.24648962900921317</c:v>
                </c:pt>
                <c:pt idx="126">
                  <c:v>0.28659829255715352</c:v>
                </c:pt>
                <c:pt idx="127">
                  <c:v>0.25939066283719098</c:v>
                </c:pt>
                <c:pt idx="128">
                  <c:v>0.22407238849922365</c:v>
                </c:pt>
                <c:pt idx="129">
                  <c:v>0.28123501773899701</c:v>
                </c:pt>
                <c:pt idx="130">
                  <c:v>0.23453170806974233</c:v>
                </c:pt>
                <c:pt idx="131">
                  <c:v>0.15464265074166827</c:v>
                </c:pt>
                <c:pt idx="132">
                  <c:v>0.20453128247765537</c:v>
                </c:pt>
                <c:pt idx="133">
                  <c:v>0.22618905709858148</c:v>
                </c:pt>
                <c:pt idx="134">
                  <c:v>0.17761175288799599</c:v>
                </c:pt>
                <c:pt idx="135">
                  <c:v>0.20752484619025083</c:v>
                </c:pt>
                <c:pt idx="136">
                  <c:v>0.23985280999107939</c:v>
                </c:pt>
                <c:pt idx="137">
                  <c:v>0.22290302133953097</c:v>
                </c:pt>
                <c:pt idx="138">
                  <c:v>0.15958142576847612</c:v>
                </c:pt>
                <c:pt idx="139">
                  <c:v>0.22092231507273291</c:v>
                </c:pt>
                <c:pt idx="140">
                  <c:v>0.20404215581643542</c:v>
                </c:pt>
                <c:pt idx="141">
                  <c:v>0.19568485941963615</c:v>
                </c:pt>
                <c:pt idx="142">
                  <c:v>0.19211792653956264</c:v>
                </c:pt>
                <c:pt idx="143">
                  <c:v>0.22281203212195455</c:v>
                </c:pt>
                <c:pt idx="144">
                  <c:v>0.20611646418098031</c:v>
                </c:pt>
                <c:pt idx="145">
                  <c:v>0.14823542613476967</c:v>
                </c:pt>
                <c:pt idx="146">
                  <c:v>0.22152455104859978</c:v>
                </c:pt>
                <c:pt idx="147">
                  <c:v>0.18401015228426396</c:v>
                </c:pt>
                <c:pt idx="148">
                  <c:v>0.21957634347455218</c:v>
                </c:pt>
                <c:pt idx="149">
                  <c:v>0.19050141242937854</c:v>
                </c:pt>
                <c:pt idx="150">
                  <c:v>0.20411961781858792</c:v>
                </c:pt>
                <c:pt idx="151">
                  <c:v>0.20347648261758691</c:v>
                </c:pt>
                <c:pt idx="152">
                  <c:v>0.14951938312031265</c:v>
                </c:pt>
                <c:pt idx="153">
                  <c:v>0.19947000722717417</c:v>
                </c:pt>
                <c:pt idx="154">
                  <c:v>0.21630351794209196</c:v>
                </c:pt>
                <c:pt idx="155">
                  <c:v>0.19277576385292594</c:v>
                </c:pt>
                <c:pt idx="156">
                  <c:v>0.18895629003911787</c:v>
                </c:pt>
                <c:pt idx="157">
                  <c:v>0.23651452282157676</c:v>
                </c:pt>
                <c:pt idx="158">
                  <c:v>0.17835595776772248</c:v>
                </c:pt>
                <c:pt idx="159">
                  <c:v>0.1651096994608445</c:v>
                </c:pt>
                <c:pt idx="160">
                  <c:v>0.21626184511491123</c:v>
                </c:pt>
                <c:pt idx="161">
                  <c:v>0.20514018691588784</c:v>
                </c:pt>
                <c:pt idx="162">
                  <c:v>0.20517978375660045</c:v>
                </c:pt>
                <c:pt idx="163">
                  <c:v>0.18944790739091719</c:v>
                </c:pt>
                <c:pt idx="164">
                  <c:v>0.21682425823280077</c:v>
                </c:pt>
                <c:pt idx="165">
                  <c:v>0.19937580319441894</c:v>
                </c:pt>
                <c:pt idx="166">
                  <c:v>0.17346987605876441</c:v>
                </c:pt>
                <c:pt idx="167">
                  <c:v>0.23388866719872306</c:v>
                </c:pt>
                <c:pt idx="168">
                  <c:v>0.20197426223577447</c:v>
                </c:pt>
                <c:pt idx="169">
                  <c:v>0.21631042083141114</c:v>
                </c:pt>
                <c:pt idx="170">
                  <c:v>0.19175210754158123</c:v>
                </c:pt>
                <c:pt idx="171">
                  <c:v>0.24741050336180265</c:v>
                </c:pt>
                <c:pt idx="172">
                  <c:v>0.22617100371747212</c:v>
                </c:pt>
                <c:pt idx="173">
                  <c:v>0.17970451934883352</c:v>
                </c:pt>
                <c:pt idx="174">
                  <c:v>0.24086603518267929</c:v>
                </c:pt>
                <c:pt idx="175">
                  <c:v>0.20335820895522388</c:v>
                </c:pt>
                <c:pt idx="176">
                  <c:v>0.22297153100857911</c:v>
                </c:pt>
                <c:pt idx="177">
                  <c:v>0.20495861222226622</c:v>
                </c:pt>
                <c:pt idx="178">
                  <c:v>0.21884267356094594</c:v>
                </c:pt>
                <c:pt idx="179">
                  <c:v>0.21321246740345212</c:v>
                </c:pt>
                <c:pt idx="180">
                  <c:v>0.17265331897032057</c:v>
                </c:pt>
                <c:pt idx="181">
                  <c:v>0.22252020573108008</c:v>
                </c:pt>
                <c:pt idx="182">
                  <c:v>0.21062945833659952</c:v>
                </c:pt>
                <c:pt idx="183">
                  <c:v>0.1926027397260274</c:v>
                </c:pt>
                <c:pt idx="184">
                  <c:v>0.16882836920202637</c:v>
                </c:pt>
                <c:pt idx="185">
                  <c:v>0.2637311342772678</c:v>
                </c:pt>
                <c:pt idx="186">
                  <c:v>0.17018284106891701</c:v>
                </c:pt>
                <c:pt idx="187">
                  <c:v>0.12727329250474087</c:v>
                </c:pt>
                <c:pt idx="188">
                  <c:v>0.1757893784492898</c:v>
                </c:pt>
                <c:pt idx="189">
                  <c:v>0.16246885413226861</c:v>
                </c:pt>
                <c:pt idx="190">
                  <c:v>0.12389986005286892</c:v>
                </c:pt>
                <c:pt idx="191">
                  <c:v>0.16588829889322501</c:v>
                </c:pt>
                <c:pt idx="192">
                  <c:v>0.21929748856477085</c:v>
                </c:pt>
                <c:pt idx="193">
                  <c:v>0.1559399643856525</c:v>
                </c:pt>
                <c:pt idx="194">
                  <c:v>0.11916613144936844</c:v>
                </c:pt>
                <c:pt idx="195">
                  <c:v>0.15581402094149724</c:v>
                </c:pt>
                <c:pt idx="196">
                  <c:v>0.13813850687622789</c:v>
                </c:pt>
                <c:pt idx="197">
                  <c:v>0.13167026779283703</c:v>
                </c:pt>
                <c:pt idx="198">
                  <c:v>0.13342397295509664</c:v>
                </c:pt>
                <c:pt idx="199">
                  <c:v>0.20594774874930516</c:v>
                </c:pt>
                <c:pt idx="200">
                  <c:v>0.12606106676802231</c:v>
                </c:pt>
                <c:pt idx="201">
                  <c:v>9.5962551199531884E-2</c:v>
                </c:pt>
                <c:pt idx="202">
                  <c:v>0.13059355437050776</c:v>
                </c:pt>
                <c:pt idx="203">
                  <c:v>0.10778781038374718</c:v>
                </c:pt>
                <c:pt idx="204">
                  <c:v>0.10195360195360195</c:v>
                </c:pt>
                <c:pt idx="205">
                  <c:v>0.11955456220836765</c:v>
                </c:pt>
                <c:pt idx="206">
                  <c:v>0.18570577724836212</c:v>
                </c:pt>
                <c:pt idx="207">
                  <c:v>0.12622696745307388</c:v>
                </c:pt>
                <c:pt idx="208">
                  <c:v>8.2205133759341492E-2</c:v>
                </c:pt>
                <c:pt idx="209">
                  <c:v>0.10808014297808297</c:v>
                </c:pt>
                <c:pt idx="210">
                  <c:v>9.2337458718350737E-2</c:v>
                </c:pt>
                <c:pt idx="211">
                  <c:v>7.4932795698924734E-2</c:v>
                </c:pt>
                <c:pt idx="212">
                  <c:v>0.14744171964880412</c:v>
                </c:pt>
                <c:pt idx="213">
                  <c:v>0.15683476054551221</c:v>
                </c:pt>
                <c:pt idx="214">
                  <c:v>0.14452784080991446</c:v>
                </c:pt>
                <c:pt idx="215">
                  <c:v>9.0332103321033211E-2</c:v>
                </c:pt>
                <c:pt idx="216">
                  <c:v>5.2848422097111672E-2</c:v>
                </c:pt>
                <c:pt idx="217">
                  <c:v>7.8298304882059258E-2</c:v>
                </c:pt>
                <c:pt idx="218">
                  <c:v>6.7430118542367926E-2</c:v>
                </c:pt>
                <c:pt idx="219">
                  <c:v>8.2232146968092459E-2</c:v>
                </c:pt>
                <c:pt idx="220">
                  <c:v>0.12365204888569374</c:v>
                </c:pt>
                <c:pt idx="221">
                  <c:v>6.6687887951615468E-2</c:v>
                </c:pt>
                <c:pt idx="222">
                  <c:v>4.9102369294839326E-2</c:v>
                </c:pt>
                <c:pt idx="223">
                  <c:v>6.5661493909156723E-2</c:v>
                </c:pt>
                <c:pt idx="224">
                  <c:v>5.3706613340951295E-2</c:v>
                </c:pt>
                <c:pt idx="225">
                  <c:v>4.7799696509863432E-2</c:v>
                </c:pt>
                <c:pt idx="226">
                  <c:v>6.908261530663963E-2</c:v>
                </c:pt>
                <c:pt idx="227">
                  <c:v>0.10007686395080707</c:v>
                </c:pt>
                <c:pt idx="228">
                  <c:v>5.6684968096156703E-2</c:v>
                </c:pt>
                <c:pt idx="229">
                  <c:v>4.21839810590749E-2</c:v>
                </c:pt>
                <c:pt idx="230">
                  <c:v>4.8487277098777801E-2</c:v>
                </c:pt>
                <c:pt idx="231">
                  <c:v>4.4164037854889593E-2</c:v>
                </c:pt>
                <c:pt idx="232">
                  <c:v>3.8709437055251296E-2</c:v>
                </c:pt>
                <c:pt idx="233">
                  <c:v>5.7016876995590694E-2</c:v>
                </c:pt>
                <c:pt idx="234">
                  <c:v>8.6541287099617989E-2</c:v>
                </c:pt>
                <c:pt idx="235">
                  <c:v>6.4475146895346988E-2</c:v>
                </c:pt>
                <c:pt idx="236">
                  <c:v>3.2605531295487628E-2</c:v>
                </c:pt>
                <c:pt idx="237">
                  <c:v>4.2812320771903785E-2</c:v>
                </c:pt>
                <c:pt idx="238">
                  <c:v>3.7851913351951087E-2</c:v>
                </c:pt>
                <c:pt idx="239">
                  <c:v>3.3434201786109674E-2</c:v>
                </c:pt>
                <c:pt idx="240">
                  <c:v>4.795444327888506E-2</c:v>
                </c:pt>
                <c:pt idx="241">
                  <c:v>9.9397590361445784E-2</c:v>
                </c:pt>
                <c:pt idx="242">
                  <c:v>3.3651226158038144E-2</c:v>
                </c:pt>
                <c:pt idx="243">
                  <c:v>2.6423778628070761E-2</c:v>
                </c:pt>
                <c:pt idx="244">
                  <c:v>3.5228509249183894E-2</c:v>
                </c:pt>
                <c:pt idx="245">
                  <c:v>3.1922553804304345E-2</c:v>
                </c:pt>
                <c:pt idx="246">
                  <c:v>2.7578736877187135E-2</c:v>
                </c:pt>
                <c:pt idx="247">
                  <c:v>4.3235704323570434E-2</c:v>
                </c:pt>
                <c:pt idx="248">
                  <c:v>6.387186078702787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1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3</c:v>
                </c:pt>
                <c:pt idx="22">
                  <c:v>2109</c:v>
                </c:pt>
                <c:pt idx="23">
                  <c:v>1925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8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4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80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8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2</c:v>
                </c:pt>
                <c:pt idx="51">
                  <c:v>1319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2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49</c:v>
                </c:pt>
                <c:pt idx="94">
                  <c:v>223</c:v>
                </c:pt>
                <c:pt idx="95">
                  <c:v>179</c:v>
                </c:pt>
                <c:pt idx="96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9</c:v>
                </c:pt>
                <c:pt idx="1">
                  <c:v>6372</c:v>
                </c:pt>
                <c:pt idx="2">
                  <c:v>6222</c:v>
                </c:pt>
                <c:pt idx="3">
                  <c:v>6319</c:v>
                </c:pt>
                <c:pt idx="4">
                  <c:v>6386</c:v>
                </c:pt>
                <c:pt idx="5">
                  <c:v>7061</c:v>
                </c:pt>
                <c:pt idx="6">
                  <c:v>6706</c:v>
                </c:pt>
                <c:pt idx="7">
                  <c:v>6229</c:v>
                </c:pt>
                <c:pt idx="8">
                  <c:v>5913</c:v>
                </c:pt>
                <c:pt idx="9">
                  <c:v>5278</c:v>
                </c:pt>
                <c:pt idx="10">
                  <c:v>5233</c:v>
                </c:pt>
                <c:pt idx="11">
                  <c:v>5525</c:v>
                </c:pt>
                <c:pt idx="12">
                  <c:v>5217</c:v>
                </c:pt>
                <c:pt idx="13">
                  <c:v>4917</c:v>
                </c:pt>
                <c:pt idx="14">
                  <c:v>4660</c:v>
                </c:pt>
                <c:pt idx="15">
                  <c:v>4413</c:v>
                </c:pt>
                <c:pt idx="16">
                  <c:v>4017</c:v>
                </c:pt>
                <c:pt idx="17">
                  <c:v>4025</c:v>
                </c:pt>
                <c:pt idx="18">
                  <c:v>4301</c:v>
                </c:pt>
                <c:pt idx="19">
                  <c:v>4132</c:v>
                </c:pt>
                <c:pt idx="20">
                  <c:v>3972</c:v>
                </c:pt>
                <c:pt idx="21">
                  <c:v>3740</c:v>
                </c:pt>
                <c:pt idx="22">
                  <c:v>3529</c:v>
                </c:pt>
                <c:pt idx="23">
                  <c:v>3178</c:v>
                </c:pt>
                <c:pt idx="24">
                  <c:v>3177</c:v>
                </c:pt>
                <c:pt idx="25">
                  <c:v>3328</c:v>
                </c:pt>
                <c:pt idx="26">
                  <c:v>3159</c:v>
                </c:pt>
                <c:pt idx="27">
                  <c:v>3014</c:v>
                </c:pt>
                <c:pt idx="28">
                  <c:v>2849</c:v>
                </c:pt>
                <c:pt idx="29">
                  <c:v>2689</c:v>
                </c:pt>
                <c:pt idx="30">
                  <c:v>2487</c:v>
                </c:pt>
                <c:pt idx="31">
                  <c:v>2514</c:v>
                </c:pt>
                <c:pt idx="32">
                  <c:v>2712</c:v>
                </c:pt>
                <c:pt idx="33">
                  <c:v>2543</c:v>
                </c:pt>
                <c:pt idx="34">
                  <c:v>2354</c:v>
                </c:pt>
                <c:pt idx="35">
                  <c:v>2200</c:v>
                </c:pt>
                <c:pt idx="36">
                  <c:v>2114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5</c:v>
                </c:pt>
                <c:pt idx="1">
                  <c:v>1424</c:v>
                </c:pt>
                <c:pt idx="2">
                  <c:v>1399</c:v>
                </c:pt>
                <c:pt idx="3">
                  <c:v>1379</c:v>
                </c:pt>
                <c:pt idx="4">
                  <c:v>1345</c:v>
                </c:pt>
                <c:pt idx="5">
                  <c:v>1395</c:v>
                </c:pt>
                <c:pt idx="6">
                  <c:v>1363</c:v>
                </c:pt>
                <c:pt idx="7">
                  <c:v>1314</c:v>
                </c:pt>
                <c:pt idx="8">
                  <c:v>1236</c:v>
                </c:pt>
                <c:pt idx="9">
                  <c:v>1220</c:v>
                </c:pt>
                <c:pt idx="10">
                  <c:v>1203</c:v>
                </c:pt>
                <c:pt idx="11">
                  <c:v>1189</c:v>
                </c:pt>
                <c:pt idx="12">
                  <c:v>1160</c:v>
                </c:pt>
                <c:pt idx="13">
                  <c:v>1116</c:v>
                </c:pt>
                <c:pt idx="14">
                  <c:v>1037</c:v>
                </c:pt>
                <c:pt idx="15">
                  <c:v>1016</c:v>
                </c:pt>
                <c:pt idx="16">
                  <c:v>976</c:v>
                </c:pt>
                <c:pt idx="17">
                  <c:v>978</c:v>
                </c:pt>
                <c:pt idx="18">
                  <c:v>997</c:v>
                </c:pt>
                <c:pt idx="19">
                  <c:v>946</c:v>
                </c:pt>
                <c:pt idx="20">
                  <c:v>912</c:v>
                </c:pt>
                <c:pt idx="21">
                  <c:v>837</c:v>
                </c:pt>
                <c:pt idx="22">
                  <c:v>790</c:v>
                </c:pt>
                <c:pt idx="23">
                  <c:v>754</c:v>
                </c:pt>
                <c:pt idx="24">
                  <c:v>764</c:v>
                </c:pt>
                <c:pt idx="25">
                  <c:v>742</c:v>
                </c:pt>
                <c:pt idx="26">
                  <c:v>716</c:v>
                </c:pt>
                <c:pt idx="27">
                  <c:v>691</c:v>
                </c:pt>
                <c:pt idx="28">
                  <c:v>640</c:v>
                </c:pt>
                <c:pt idx="29">
                  <c:v>581</c:v>
                </c:pt>
                <c:pt idx="30">
                  <c:v>560</c:v>
                </c:pt>
                <c:pt idx="31">
                  <c:v>566</c:v>
                </c:pt>
                <c:pt idx="32">
                  <c:v>572</c:v>
                </c:pt>
                <c:pt idx="33">
                  <c:v>548</c:v>
                </c:pt>
                <c:pt idx="34">
                  <c:v>498</c:v>
                </c:pt>
                <c:pt idx="35">
                  <c:v>459</c:v>
                </c:pt>
                <c:pt idx="36">
                  <c:v>437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155:$H$280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155:$I$280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155:$B$280</c:f>
              <c:numCache>
                <c:formatCode>General</c:formatCode>
                <c:ptCount val="126"/>
                <c:pt idx="0">
                  <c:v>445.17740376113989</c:v>
                </c:pt>
                <c:pt idx="1">
                  <c:v>444.73790246980087</c:v>
                </c:pt>
                <c:pt idx="2">
                  <c:v>455.61322165761374</c:v>
                </c:pt>
                <c:pt idx="3">
                  <c:v>456.52027751420684</c:v>
                </c:pt>
                <c:pt idx="4">
                  <c:v>461.84104846679975</c:v>
                </c:pt>
                <c:pt idx="5">
                  <c:v>468.99463331518911</c:v>
                </c:pt>
                <c:pt idx="6">
                  <c:v>467.85380017596884</c:v>
                </c:pt>
                <c:pt idx="7">
                  <c:v>473.09041130681589</c:v>
                </c:pt>
                <c:pt idx="8">
                  <c:v>483.70389993808647</c:v>
                </c:pt>
                <c:pt idx="9">
                  <c:v>482.49760915973059</c:v>
                </c:pt>
                <c:pt idx="10">
                  <c:v>491.01645333866219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64117085388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670096771639</c:v>
                </c:pt>
                <c:pt idx="19">
                  <c:v>608.74669286967128</c:v>
                </c:pt>
                <c:pt idx="20">
                  <c:v>619.85578934011119</c:v>
                </c:pt>
                <c:pt idx="21">
                  <c:v>643.26157087673676</c:v>
                </c:pt>
                <c:pt idx="22">
                  <c:v>673.48429797476865</c:v>
                </c:pt>
                <c:pt idx="23">
                  <c:v>700.20036583339402</c:v>
                </c:pt>
                <c:pt idx="24">
                  <c:v>727.16891315725661</c:v>
                </c:pt>
                <c:pt idx="25">
                  <c:v>759.78551962939014</c:v>
                </c:pt>
                <c:pt idx="26">
                  <c:v>769.5948144084233</c:v>
                </c:pt>
                <c:pt idx="27">
                  <c:v>774.44803079576207</c:v>
                </c:pt>
                <c:pt idx="28">
                  <c:v>783.02298152252411</c:v>
                </c:pt>
                <c:pt idx="29">
                  <c:v>791.78495407538787</c:v>
                </c:pt>
                <c:pt idx="30">
                  <c:v>805.25987664601416</c:v>
                </c:pt>
                <c:pt idx="31">
                  <c:v>805.82094212431912</c:v>
                </c:pt>
                <c:pt idx="32">
                  <c:v>790.79373839704897</c:v>
                </c:pt>
                <c:pt idx="33">
                  <c:v>803.00626364148889</c:v>
                </c:pt>
                <c:pt idx="34">
                  <c:v>797.34885340191306</c:v>
                </c:pt>
                <c:pt idx="35">
                  <c:v>781.71382873981236</c:v>
                </c:pt>
                <c:pt idx="36">
                  <c:v>768.44463017789792</c:v>
                </c:pt>
                <c:pt idx="37">
                  <c:v>761.88016408172882</c:v>
                </c:pt>
                <c:pt idx="38">
                  <c:v>730.05840037052758</c:v>
                </c:pt>
                <c:pt idx="39">
                  <c:v>746.8062048979333</c:v>
                </c:pt>
                <c:pt idx="40">
                  <c:v>726.47693240068043</c:v>
                </c:pt>
                <c:pt idx="41">
                  <c:v>720.39872305237577</c:v>
                </c:pt>
                <c:pt idx="42">
                  <c:v>720.17429686105368</c:v>
                </c:pt>
                <c:pt idx="43">
                  <c:v>707.73734542529189</c:v>
                </c:pt>
                <c:pt idx="44">
                  <c:v>684.28480843214084</c:v>
                </c:pt>
                <c:pt idx="45">
                  <c:v>678.81442001866662</c:v>
                </c:pt>
                <c:pt idx="46">
                  <c:v>629.72119066697496</c:v>
                </c:pt>
                <c:pt idx="47">
                  <c:v>615.78806462239959</c:v>
                </c:pt>
                <c:pt idx="48">
                  <c:v>606.97933661301045</c:v>
                </c:pt>
                <c:pt idx="49">
                  <c:v>584.6395794851644</c:v>
                </c:pt>
                <c:pt idx="50">
                  <c:v>556.02524009160697</c:v>
                </c:pt>
                <c:pt idx="51">
                  <c:v>526.28876974143952</c:v>
                </c:pt>
                <c:pt idx="52">
                  <c:v>500.71353502203442</c:v>
                </c:pt>
                <c:pt idx="53">
                  <c:v>482.01135241186614</c:v>
                </c:pt>
                <c:pt idx="54">
                  <c:v>468.01276872815527</c:v>
                </c:pt>
                <c:pt idx="55">
                  <c:v>461.96261265376586</c:v>
                </c:pt>
                <c:pt idx="56">
                  <c:v>449.75943850063106</c:v>
                </c:pt>
                <c:pt idx="57">
                  <c:v>427.8965870293444</c:v>
                </c:pt>
                <c:pt idx="58">
                  <c:v>413.07510731078605</c:v>
                </c:pt>
                <c:pt idx="59">
                  <c:v>397.39332719215901</c:v>
                </c:pt>
                <c:pt idx="60">
                  <c:v>361.15784838495802</c:v>
                </c:pt>
                <c:pt idx="61">
                  <c:v>344.24172421406098</c:v>
                </c:pt>
                <c:pt idx="62">
                  <c:v>345.93427174028199</c:v>
                </c:pt>
                <c:pt idx="63">
                  <c:v>294.353652101438</c:v>
                </c:pt>
                <c:pt idx="64">
                  <c:v>265.85152580354099</c:v>
                </c:pt>
                <c:pt idx="65">
                  <c:v>263.88779662947297</c:v>
                </c:pt>
                <c:pt idx="66">
                  <c:v>254.88269570267701</c:v>
                </c:pt>
                <c:pt idx="67">
                  <c:v>264.05611627296503</c:v>
                </c:pt>
                <c:pt idx="68">
                  <c:v>264.46756429038902</c:v>
                </c:pt>
                <c:pt idx="69">
                  <c:v>255.67753846361001</c:v>
                </c:pt>
                <c:pt idx="70">
                  <c:v>278.578361069761</c:v>
                </c:pt>
                <c:pt idx="71">
                  <c:v>273.659687043286</c:v>
                </c:pt>
                <c:pt idx="72">
                  <c:v>242.455095358221</c:v>
                </c:pt>
                <c:pt idx="73">
                  <c:v>223.575242013256</c:v>
                </c:pt>
                <c:pt idx="74">
                  <c:v>208.58544265120599</c:v>
                </c:pt>
                <c:pt idx="75">
                  <c:v>202.385669115935</c:v>
                </c:pt>
                <c:pt idx="76">
                  <c:v>200.96430323756201</c:v>
                </c:pt>
                <c:pt idx="77">
                  <c:v>196.03627811978299</c:v>
                </c:pt>
                <c:pt idx="78">
                  <c:v>184.431573810174</c:v>
                </c:pt>
                <c:pt idx="79">
                  <c:v>177.287340053089</c:v>
                </c:pt>
                <c:pt idx="80">
                  <c:v>171.34939707436101</c:v>
                </c:pt>
                <c:pt idx="81">
                  <c:v>165.60782701303901</c:v>
                </c:pt>
                <c:pt idx="82">
                  <c:v>163.410320556345</c:v>
                </c:pt>
                <c:pt idx="83">
                  <c:v>163.33551182590401</c:v>
                </c:pt>
                <c:pt idx="84">
                  <c:v>156.20998025143001</c:v>
                </c:pt>
                <c:pt idx="85">
                  <c:v>150.814400568396</c:v>
                </c:pt>
                <c:pt idx="86">
                  <c:v>146.47549420283701</c:v>
                </c:pt>
                <c:pt idx="87">
                  <c:v>142.735057680804</c:v>
                </c:pt>
                <c:pt idx="88">
                  <c:v>138.67668405439699</c:v>
                </c:pt>
                <c:pt idx="89">
                  <c:v>137.41428672821101</c:v>
                </c:pt>
                <c:pt idx="90">
                  <c:v>134.44999078449899</c:v>
                </c:pt>
                <c:pt idx="91">
                  <c:v>131.07424682336401</c:v>
                </c:pt>
                <c:pt idx="92">
                  <c:v>123.41570304450001</c:v>
                </c:pt>
                <c:pt idx="93">
                  <c:v>117.636728617958</c:v>
                </c:pt>
                <c:pt idx="94">
                  <c:v>111.52111490443301</c:v>
                </c:pt>
                <c:pt idx="95">
                  <c:v>106.555685421433</c:v>
                </c:pt>
                <c:pt idx="96">
                  <c:v>102.31964106023</c:v>
                </c:pt>
                <c:pt idx="97">
                  <c:v>10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155:$C$280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155:$D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4.6939331319042</c:v>
                </c:pt>
                <c:pt idx="86" formatCode="0">
                  <c:v>158.12516246310662</c:v>
                </c:pt>
                <c:pt idx="87" formatCode="0">
                  <c:v>151.50280042521626</c:v>
                </c:pt>
                <c:pt idx="88" formatCode="0">
                  <c:v>144.93402975641871</c:v>
                </c:pt>
                <c:pt idx="89" formatCode="0">
                  <c:v>138.3422913580099</c:v>
                </c:pt>
                <c:pt idx="90" formatCode="0">
                  <c:v>131.68164977076759</c:v>
                </c:pt>
                <c:pt idx="91" formatCode="0">
                  <c:v>124.92148135521016</c:v>
                </c:pt>
                <c:pt idx="92" formatCode="0">
                  <c:v>118.84268891811774</c:v>
                </c:pt>
                <c:pt idx="93" formatCode="0">
                  <c:v>113.19262743376736</c:v>
                </c:pt>
                <c:pt idx="94" formatCode="0">
                  <c:v>107.81817870475116</c:v>
                </c:pt>
                <c:pt idx="95" formatCode="0">
                  <c:v>102.59684817314283</c:v>
                </c:pt>
                <c:pt idx="96" formatCode="0">
                  <c:v>97.559259478423925</c:v>
                </c:pt>
                <c:pt idx="97" formatCode="0">
                  <c:v>92.759003989687216</c:v>
                </c:pt>
                <c:pt idx="98" formatCode="0">
                  <c:v>88.226705346414278</c:v>
                </c:pt>
                <c:pt idx="99" formatCode="0">
                  <c:v>84.008299007827475</c:v>
                </c:pt>
                <c:pt idx="100" formatCode="0">
                  <c:v>80.004258145611715</c:v>
                </c:pt>
                <c:pt idx="101" formatCode="0">
                  <c:v>76.160991390674198</c:v>
                </c:pt>
                <c:pt idx="102" formatCode="0">
                  <c:v>72.478498743014939</c:v>
                </c:pt>
                <c:pt idx="103" formatCode="0">
                  <c:v>68.995059751985906</c:v>
                </c:pt>
                <c:pt idx="104" formatCode="0">
                  <c:v>65.7106744175871</c:v>
                </c:pt>
                <c:pt idx="105" formatCode="0">
                  <c:v>62.602375010207361</c:v>
                </c:pt>
                <c:pt idx="106" formatCode="0">
                  <c:v>59.647193800235485</c:v>
                </c:pt>
                <c:pt idx="107" formatCode="0">
                  <c:v>56.829818967930684</c:v>
                </c:pt>
                <c:pt idx="108" formatCode="0">
                  <c:v>54.150250513292974</c:v>
                </c:pt>
                <c:pt idx="109" formatCode="0">
                  <c:v>51.608488436322347</c:v>
                </c:pt>
                <c:pt idx="110" formatCode="0">
                  <c:v>49.204532737018802</c:v>
                </c:pt>
                <c:pt idx="111" formatCode="0">
                  <c:v>46.915415685771151</c:v>
                </c:pt>
                <c:pt idx="112" formatCode="0">
                  <c:v>44.748793192449803</c:v>
                </c:pt>
                <c:pt idx="113" formatCode="0">
                  <c:v>42.697009347184355</c:v>
                </c:pt>
                <c:pt idx="114" formatCode="0">
                  <c:v>40.737096420363628</c:v>
                </c:pt>
                <c:pt idx="115" formatCode="0">
                  <c:v>38.884366231728407</c:v>
                </c:pt>
                <c:pt idx="116" formatCode="0">
                  <c:v>37.123506961537906</c:v>
                </c:pt>
                <c:pt idx="117" formatCode="0">
                  <c:v>35.446862699921745</c:v>
                </c:pt>
                <c:pt idx="118" formatCode="0">
                  <c:v>33.862089356750296</c:v>
                </c:pt>
                <c:pt idx="119" formatCode="0">
                  <c:v>32.353875112282779</c:v>
                </c:pt>
                <c:pt idx="120" formatCode="0">
                  <c:v>30.914564056648807</c:v>
                </c:pt>
                <c:pt idx="121" formatCode="0">
                  <c:v>29.559468009589164</c:v>
                </c:pt>
                <c:pt idx="122" formatCode="0">
                  <c:v>28.265619241492672</c:v>
                </c:pt>
                <c:pt idx="123" formatCode="0">
                  <c:v>27.040673662229718</c:v>
                </c:pt>
                <c:pt idx="124" formatCode="0">
                  <c:v>25.876975361929908</c:v>
                </c:pt>
                <c:pt idx="125" formatCode="0">
                  <c:v>24.774524340593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155:$E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5.70451323479614</c:v>
                </c:pt>
                <c:pt idx="86" formatCode="0">
                  <c:v>160.69754817955882</c:v>
                </c:pt>
                <c:pt idx="87" formatCode="0">
                  <c:v>155.93557224017411</c:v>
                </c:pt>
                <c:pt idx="88" formatCode="0">
                  <c:v>151.37264995741961</c:v>
                </c:pt>
                <c:pt idx="89" formatCode="0">
                  <c:v>147.03940497077687</c:v>
                </c:pt>
                <c:pt idx="90" formatCode="0">
                  <c:v>142.94349319011638</c:v>
                </c:pt>
                <c:pt idx="91" formatCode="0">
                  <c:v>139.07725870556766</c:v>
                </c:pt>
                <c:pt idx="92" formatCode="0">
                  <c:v>135.22633604075978</c:v>
                </c:pt>
                <c:pt idx="93" formatCode="0">
                  <c:v>131.4443165647854</c:v>
                </c:pt>
                <c:pt idx="94" formatCode="0">
                  <c:v>127.7847916467373</c:v>
                </c:pt>
                <c:pt idx="95" formatCode="0">
                  <c:v>124.27072901622672</c:v>
                </c:pt>
                <c:pt idx="96" formatCode="0">
                  <c:v>120.87150503377202</c:v>
                </c:pt>
                <c:pt idx="97" formatCode="0">
                  <c:v>117.57946378950282</c:v>
                </c:pt>
                <c:pt idx="98" formatCode="0">
                  <c:v>114.37163755380797</c:v>
                </c:pt>
                <c:pt idx="99" formatCode="0">
                  <c:v>111.23271450694666</c:v>
                </c:pt>
                <c:pt idx="100" formatCode="0">
                  <c:v>108.18566237853005</c:v>
                </c:pt>
                <c:pt idx="101" formatCode="0">
                  <c:v>105.23813707842855</c:v>
                </c:pt>
                <c:pt idx="102" formatCode="0">
                  <c:v>102.3901386066422</c:v>
                </c:pt>
                <c:pt idx="103" formatCode="0">
                  <c:v>99.618699233559767</c:v>
                </c:pt>
                <c:pt idx="104" formatCode="0">
                  <c:v>96.916163049310853</c:v>
                </c:pt>
                <c:pt idx="105" formatCode="0">
                  <c:v>94.290185963765907</c:v>
                </c:pt>
                <c:pt idx="106" formatCode="0">
                  <c:v>91.74842388679528</c:v>
                </c:pt>
                <c:pt idx="107" formatCode="0">
                  <c:v>89.283220908528591</c:v>
                </c:pt>
                <c:pt idx="108" formatCode="0">
                  <c:v>86.894577028965827</c:v>
                </c:pt>
                <c:pt idx="109" formatCode="0">
                  <c:v>84.5671804283662</c:v>
                </c:pt>
                <c:pt idx="110" formatCode="0">
                  <c:v>82.316342926470512</c:v>
                </c:pt>
                <c:pt idx="111" formatCode="0">
                  <c:v>80.126752703537989</c:v>
                </c:pt>
                <c:pt idx="112" formatCode="0">
                  <c:v>77.998409759568617</c:v>
                </c:pt>
                <c:pt idx="113" formatCode="0">
                  <c:v>75.931314094562396</c:v>
                </c:pt>
                <c:pt idx="114" formatCode="0">
                  <c:v>73.925465708519297</c:v>
                </c:pt>
                <c:pt idx="115" formatCode="0">
                  <c:v>71.973208691568971</c:v>
                </c:pt>
                <c:pt idx="116" formatCode="0">
                  <c:v>70.082198953581766</c:v>
                </c:pt>
                <c:pt idx="117" formatCode="0">
                  <c:v>68.237124674816968</c:v>
                </c:pt>
                <c:pt idx="118" formatCode="0">
                  <c:v>66.453297675015278</c:v>
                </c:pt>
                <c:pt idx="119" formatCode="0">
                  <c:v>64.715406134435952</c:v>
                </c:pt>
                <c:pt idx="120" formatCode="0">
                  <c:v>63.03110596294939</c:v>
                </c:pt>
                <c:pt idx="121" formatCode="0">
                  <c:v>61.400397160555592</c:v>
                </c:pt>
                <c:pt idx="122" formatCode="0">
                  <c:v>59.815623817384143</c:v>
                </c:pt>
                <c:pt idx="123" formatCode="0">
                  <c:v>58.27678593343505</c:v>
                </c:pt>
                <c:pt idx="124" formatCode="0">
                  <c:v>56.783883508708321</c:v>
                </c:pt>
                <c:pt idx="125" formatCode="0">
                  <c:v>55.329260633333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155:$F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6.70743742781769</c:v>
                </c:pt>
                <c:pt idx="86" formatCode="0">
                  <c:v>163.26227798614065</c:v>
                </c:pt>
                <c:pt idx="87" formatCode="0">
                  <c:v>160.36068814526149</c:v>
                </c:pt>
                <c:pt idx="88" formatCode="0">
                  <c:v>157.8036142485501</c:v>
                </c:pt>
                <c:pt idx="89" formatCode="0">
                  <c:v>155.77479813289582</c:v>
                </c:pt>
                <c:pt idx="90" formatCode="0">
                  <c:v>154.36611071674341</c:v>
                </c:pt>
                <c:pt idx="91" formatCode="0">
                  <c:v>153.61583154944486</c:v>
                </c:pt>
                <c:pt idx="92" formatCode="0">
                  <c:v>152.32198278134837</c:v>
                </c:pt>
                <c:pt idx="93" formatCode="0">
                  <c:v>150.80611262701044</c:v>
                </c:pt>
                <c:pt idx="94" formatCode="0">
                  <c:v>149.32852202202454</c:v>
                </c:pt>
                <c:pt idx="95" formatCode="0">
                  <c:v>148.10357644276158</c:v>
                </c:pt>
                <c:pt idx="96" formatCode="0">
                  <c:v>147.02409315103611</c:v>
                </c:pt>
                <c:pt idx="97" formatCode="0">
                  <c:v>145.97523349879222</c:v>
                </c:pt>
                <c:pt idx="98" formatCode="0">
                  <c:v>144.84981474784436</c:v>
                </c:pt>
                <c:pt idx="99" formatCode="0">
                  <c:v>143.59424552909985</c:v>
                </c:pt>
                <c:pt idx="100" formatCode="0">
                  <c:v>142.36929994983686</c:v>
                </c:pt>
                <c:pt idx="101" formatCode="0">
                  <c:v>141.23622528901865</c:v>
                </c:pt>
                <c:pt idx="102" formatCode="0">
                  <c:v>140.17970972690432</c:v>
                </c:pt>
                <c:pt idx="103" formatCode="0">
                  <c:v>139.10788234504926</c:v>
                </c:pt>
                <c:pt idx="104" formatCode="0">
                  <c:v>138.0054313237126</c:v>
                </c:pt>
                <c:pt idx="105" formatCode="0">
                  <c:v>136.88001257276477</c:v>
                </c:pt>
                <c:pt idx="106" formatCode="0">
                  <c:v>135.76224973168732</c:v>
                </c:pt>
                <c:pt idx="107" formatCode="0">
                  <c:v>134.69807825970261</c:v>
                </c:pt>
                <c:pt idx="108" formatCode="0">
                  <c:v>133.66453042719951</c:v>
                </c:pt>
                <c:pt idx="109" formatCode="0">
                  <c:v>132.63098259469638</c:v>
                </c:pt>
                <c:pt idx="110" formatCode="0">
                  <c:v>131.58212294245249</c:v>
                </c:pt>
                <c:pt idx="111" formatCode="0">
                  <c:v>130.53326329020857</c:v>
                </c:pt>
                <c:pt idx="112" formatCode="0">
                  <c:v>129.50737136757584</c:v>
                </c:pt>
                <c:pt idx="113" formatCode="0">
                  <c:v>128.49679126468391</c:v>
                </c:pt>
                <c:pt idx="114" formatCode="0">
                  <c:v>127.50152298153277</c:v>
                </c:pt>
                <c:pt idx="115" formatCode="0">
                  <c:v>126.51391060825202</c:v>
                </c:pt>
                <c:pt idx="116" formatCode="0">
                  <c:v>125.52629823497125</c:v>
                </c:pt>
                <c:pt idx="117" formatCode="0">
                  <c:v>124.55399768143127</c:v>
                </c:pt>
                <c:pt idx="118" formatCode="0">
                  <c:v>123.5816971278913</c:v>
                </c:pt>
                <c:pt idx="119" formatCode="0">
                  <c:v>122.62470839409212</c:v>
                </c:pt>
                <c:pt idx="120" formatCode="0">
                  <c:v>121.68303148003372</c:v>
                </c:pt>
                <c:pt idx="121" formatCode="0">
                  <c:v>120.74135456597533</c:v>
                </c:pt>
                <c:pt idx="122" formatCode="0">
                  <c:v>119.80733356178732</c:v>
                </c:pt>
                <c:pt idx="123" formatCode="0">
                  <c:v>118.8809684674697</c:v>
                </c:pt>
                <c:pt idx="124" formatCode="0">
                  <c:v>117.9622592830225</c:v>
                </c:pt>
                <c:pt idx="125" formatCode="0">
                  <c:v>117.05886191831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Jihomoravs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438.86977487605992</c:v>
                </c:pt>
                <c:pt idx="1">
                  <c:v>436.69938446181999</c:v>
                </c:pt>
                <c:pt idx="2">
                  <c:v>323.10570172242063</c:v>
                </c:pt>
                <c:pt idx="3">
                  <c:v>451.51033386327504</c:v>
                </c:pt>
                <c:pt idx="4">
                  <c:v>286.82075376940503</c:v>
                </c:pt>
                <c:pt idx="5">
                  <c:v>280.60573734375362</c:v>
                </c:pt>
                <c:pt idx="6">
                  <c:v>324.94258812012868</c:v>
                </c:pt>
                <c:pt idx="7">
                  <c:v>315.01169712551825</c:v>
                </c:pt>
                <c:pt idx="8">
                  <c:v>348.52546916890083</c:v>
                </c:pt>
                <c:pt idx="9">
                  <c:v>376.9864284885744</c:v>
                </c:pt>
                <c:pt idx="10">
                  <c:v>391.01433719236371</c:v>
                </c:pt>
                <c:pt idx="11">
                  <c:v>255.51777558698669</c:v>
                </c:pt>
                <c:pt idx="12">
                  <c:v>305.58006412877404</c:v>
                </c:pt>
                <c:pt idx="13">
                  <c:v>221.38042996999064</c:v>
                </c:pt>
                <c:pt idx="14">
                  <c:v>93.101201005492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Jihomoravs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46.76130360577577</c:v>
                </c:pt>
                <c:pt idx="1">
                  <c:v>341.04142405589749</c:v>
                </c:pt>
                <c:pt idx="2">
                  <c:v>308.52950465223626</c:v>
                </c:pt>
                <c:pt idx="3">
                  <c:v>255.9618441971383</c:v>
                </c:pt>
                <c:pt idx="4">
                  <c:v>208.69836947423636</c:v>
                </c:pt>
                <c:pt idx="5">
                  <c:v>230.7460402124255</c:v>
                </c:pt>
                <c:pt idx="6">
                  <c:v>223.343954634109</c:v>
                </c:pt>
                <c:pt idx="7">
                  <c:v>155.18958608389502</c:v>
                </c:pt>
                <c:pt idx="8">
                  <c:v>191.85656836461126</c:v>
                </c:pt>
                <c:pt idx="9">
                  <c:v>220.39206588562811</c:v>
                </c:pt>
                <c:pt idx="10">
                  <c:v>342.45700120115515</c:v>
                </c:pt>
                <c:pt idx="11">
                  <c:v>159.95010361547594</c:v>
                </c:pt>
                <c:pt idx="12">
                  <c:v>247.47681249865502</c:v>
                </c:pt>
                <c:pt idx="13">
                  <c:v>98.391302208884738</c:v>
                </c:pt>
                <c:pt idx="14">
                  <c:v>93.101201005492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Jihomoravs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24.8530328068702</c:v>
                </c:pt>
                <c:pt idx="1">
                  <c:v>180.91831641989685</c:v>
                </c:pt>
                <c:pt idx="2">
                  <c:v>177.34373102057674</c:v>
                </c:pt>
                <c:pt idx="3">
                  <c:v>168.5214626391097</c:v>
                </c:pt>
                <c:pt idx="4">
                  <c:v>133.92408736314633</c:v>
                </c:pt>
                <c:pt idx="5">
                  <c:v>122.90995106792514</c:v>
                </c:pt>
                <c:pt idx="6">
                  <c:v>116.80134871567958</c:v>
                </c:pt>
                <c:pt idx="7">
                  <c:v>104.23181154888472</c:v>
                </c:pt>
                <c:pt idx="8">
                  <c:v>96.347184986595181</c:v>
                </c:pt>
                <c:pt idx="9">
                  <c:v>92.796659320264467</c:v>
                </c:pt>
                <c:pt idx="10">
                  <c:v>89.44772419433157</c:v>
                </c:pt>
                <c:pt idx="11">
                  <c:v>86.513892521578171</c:v>
                </c:pt>
                <c:pt idx="12">
                  <c:v>73.167057608298009</c:v>
                </c:pt>
                <c:pt idx="13">
                  <c:v>41.816303438776011</c:v>
                </c:pt>
                <c:pt idx="14">
                  <c:v>27.930360301647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Jihomoravs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24.8530328068702</c:v>
                </c:pt>
                <c:pt idx="1">
                  <c:v>180.91831641989685</c:v>
                </c:pt>
                <c:pt idx="2">
                  <c:v>177.34373102057674</c:v>
                </c:pt>
                <c:pt idx="3">
                  <c:v>168.5214626391097</c:v>
                </c:pt>
                <c:pt idx="4">
                  <c:v>133.92408736314633</c:v>
                </c:pt>
                <c:pt idx="5">
                  <c:v>122.90995106792514</c:v>
                </c:pt>
                <c:pt idx="6">
                  <c:v>116.80134871567958</c:v>
                </c:pt>
                <c:pt idx="7">
                  <c:v>104.23181154888472</c:v>
                </c:pt>
                <c:pt idx="8">
                  <c:v>96.347184986595181</c:v>
                </c:pt>
                <c:pt idx="9">
                  <c:v>92.796659320264467</c:v>
                </c:pt>
                <c:pt idx="10">
                  <c:v>89.44772419433157</c:v>
                </c:pt>
                <c:pt idx="11">
                  <c:v>86.513892521578171</c:v>
                </c:pt>
                <c:pt idx="12">
                  <c:v>73.167057608298009</c:v>
                </c:pt>
                <c:pt idx="13">
                  <c:v>41.816303438776011</c:v>
                </c:pt>
                <c:pt idx="14">
                  <c:v>27.930360301647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Kraj Vysočina</c:v>
                </c:pt>
                <c:pt idx="2">
                  <c:v>Moravskoslezský kraj</c:v>
                </c:pt>
                <c:pt idx="3">
                  <c:v>Jihomoravský kraj</c:v>
                </c:pt>
                <c:pt idx="4">
                  <c:v>Plzeňský kraj</c:v>
                </c:pt>
                <c:pt idx="5">
                  <c:v>Středočeský kraj</c:v>
                </c:pt>
                <c:pt idx="6">
                  <c:v>Pardubický kraj</c:v>
                </c:pt>
                <c:pt idx="7">
                  <c:v>ČR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Zlínský kraj</c:v>
                </c:pt>
                <c:pt idx="11">
                  <c:v>Královéhrad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[$-10405]#\ ##0.00;\(#\ ##0.00\)</c:formatCode>
                <c:ptCount val="15"/>
                <c:pt idx="0">
                  <c:v>0.88120950323900005</c:v>
                </c:pt>
                <c:pt idx="1">
                  <c:v>0.84728506787299995</c:v>
                </c:pt>
                <c:pt idx="2">
                  <c:v>0.82231404958599996</c:v>
                </c:pt>
                <c:pt idx="3">
                  <c:v>0.81182453909700003</c:v>
                </c:pt>
                <c:pt idx="4">
                  <c:v>0.80794701986700002</c:v>
                </c:pt>
                <c:pt idx="5">
                  <c:v>0.80334448160500005</c:v>
                </c:pt>
                <c:pt idx="6">
                  <c:v>0.80073800738000001</c:v>
                </c:pt>
                <c:pt idx="7">
                  <c:v>0.78062352857200001</c:v>
                </c:pt>
                <c:pt idx="8">
                  <c:v>0.77987421383599997</c:v>
                </c:pt>
                <c:pt idx="9">
                  <c:v>0.773155416012</c:v>
                </c:pt>
                <c:pt idx="10">
                  <c:v>0.73733905579299996</c:v>
                </c:pt>
                <c:pt idx="11">
                  <c:v>0.73454545454499998</c:v>
                </c:pt>
                <c:pt idx="12">
                  <c:v>0.72536687630999996</c:v>
                </c:pt>
                <c:pt idx="13">
                  <c:v>0.72142857142799999</c:v>
                </c:pt>
                <c:pt idx="14">
                  <c:v>0.635294117646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0;\(#\ ##0.0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Hlavní město Praha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398.85915106884738</c:v>
                </c:pt>
                <c:pt idx="1">
                  <c:v>358.45974822488046</c:v>
                </c:pt>
                <c:pt idx="2">
                  <c:v>380.20746414836174</c:v>
                </c:pt>
                <c:pt idx="3">
                  <c:v>423.62738309281218</c:v>
                </c:pt>
                <c:pt idx="4">
                  <c:v>497.47900174963394</c:v>
                </c:pt>
                <c:pt idx="5">
                  <c:v>591.79461698723151</c:v>
                </c:pt>
                <c:pt idx="6">
                  <c:v>778.084947484552</c:v>
                </c:pt>
                <c:pt idx="7">
                  <c:v>807.38395365924202</c:v>
                </c:pt>
                <c:pt idx="8">
                  <c:v>661.03994859081592</c:v>
                </c:pt>
                <c:pt idx="9">
                  <c:v>534.93340139562952</c:v>
                </c:pt>
                <c:pt idx="10">
                  <c:v>382.54836412623644</c:v>
                </c:pt>
                <c:pt idx="11">
                  <c:v>276.60376190177737</c:v>
                </c:pt>
                <c:pt idx="12">
                  <c:v>203.129707757516</c:v>
                </c:pt>
                <c:pt idx="13">
                  <c:v>159.10568559296885</c:v>
                </c:pt>
                <c:pt idx="14">
                  <c:v>120.29205370175575</c:v>
                </c:pt>
                <c:pt idx="15">
                  <c:v>105.49152480938656</c:v>
                </c:pt>
                <c:pt idx="16">
                  <c:v>84.272399203489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311-4BFF-A138-3B7C7E44A26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11-4BFF-A138-3B7C7E44A26D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11-4BFF-A138-3B7C7E44A26D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11-4BFF-A138-3B7C7E44A26D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11-4BFF-A138-3B7C7E44A26D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11-4BFF-A138-3B7C7E44A2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Středoče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528.82702916165215</c:v>
                </c:pt>
                <c:pt idx="1">
                  <c:v>460.09756407470428</c:v>
                </c:pt>
                <c:pt idx="2">
                  <c:v>447.39127641157108</c:v>
                </c:pt>
                <c:pt idx="3">
                  <c:v>534.09725074920175</c:v>
                </c:pt>
                <c:pt idx="4">
                  <c:v>581.02388132327326</c:v>
                </c:pt>
                <c:pt idx="5">
                  <c:v>771.97917035161038</c:v>
                </c:pt>
                <c:pt idx="6">
                  <c:v>981.56072197704066</c:v>
                </c:pt>
                <c:pt idx="7">
                  <c:v>1055.1272397539312</c:v>
                </c:pt>
                <c:pt idx="8">
                  <c:v>918.46245255898134</c:v>
                </c:pt>
                <c:pt idx="9">
                  <c:v>730.46715099762412</c:v>
                </c:pt>
                <c:pt idx="10">
                  <c:v>533.51969221905927</c:v>
                </c:pt>
                <c:pt idx="11">
                  <c:v>346.31853363664783</c:v>
                </c:pt>
                <c:pt idx="12">
                  <c:v>250.08284355166731</c:v>
                </c:pt>
                <c:pt idx="13">
                  <c:v>179.11533916041759</c:v>
                </c:pt>
                <c:pt idx="14">
                  <c:v>139.69696947819753</c:v>
                </c:pt>
                <c:pt idx="15">
                  <c:v>114.2121993356633</c:v>
                </c:pt>
                <c:pt idx="16">
                  <c:v>86.705974337630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964-47B1-8D35-5FF6432F340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64-47B1-8D35-5FF6432F3404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64-47B1-8D35-5FF6432F3404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64-47B1-8D35-5FF6432F3404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64-47B1-8D35-5FF6432F3404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64-47B1-8D35-5FF6432F3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Jihoče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73.54145350832113</c:v>
                </c:pt>
                <c:pt idx="1">
                  <c:v>372.00174511670082</c:v>
                </c:pt>
                <c:pt idx="2">
                  <c:v>359.58098568041697</c:v>
                </c:pt>
                <c:pt idx="3">
                  <c:v>375.41745396167886</c:v>
                </c:pt>
                <c:pt idx="4">
                  <c:v>389.39080832749818</c:v>
                </c:pt>
                <c:pt idx="5">
                  <c:v>469.65996618448241</c:v>
                </c:pt>
                <c:pt idx="6">
                  <c:v>665.44218679890639</c:v>
                </c:pt>
                <c:pt idx="7">
                  <c:v>824.1173885974323</c:v>
                </c:pt>
                <c:pt idx="8">
                  <c:v>847.25105304751094</c:v>
                </c:pt>
                <c:pt idx="9">
                  <c:v>807.19410386549555</c:v>
                </c:pt>
                <c:pt idx="10">
                  <c:v>618.86433891284196</c:v>
                </c:pt>
                <c:pt idx="11">
                  <c:v>428.82671953769932</c:v>
                </c:pt>
                <c:pt idx="12">
                  <c:v>365.17032742674468</c:v>
                </c:pt>
                <c:pt idx="13">
                  <c:v>256.33342286630761</c:v>
                </c:pt>
                <c:pt idx="14">
                  <c:v>234.5970938528109</c:v>
                </c:pt>
                <c:pt idx="15">
                  <c:v>195.47170162851683</c:v>
                </c:pt>
                <c:pt idx="16">
                  <c:v>152.93060055924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98-4C03-97A5-6004D3B70013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98-4C03-97A5-6004D3B70013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98-4C03-97A5-6004D3B70013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98-4C03-97A5-6004D3B70013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98-4C03-97A5-6004D3B70013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 - 16.1</c:v>
                </c:pt>
                <c:pt idx="1">
                  <c:v>17.1 - 23.1</c:v>
                </c:pt>
                <c:pt idx="2">
                  <c:v>24.1 - 30.1</c:v>
                </c:pt>
                <c:pt idx="3">
                  <c:v>31.1 - 6.2</c:v>
                </c:pt>
                <c:pt idx="4">
                  <c:v>7.2 - 13.2</c:v>
                </c:pt>
                <c:pt idx="5">
                  <c:v>14.2 - 20.2</c:v>
                </c:pt>
                <c:pt idx="6">
                  <c:v>21.2 - 27.2</c:v>
                </c:pt>
                <c:pt idx="7">
                  <c:v>28.2 - 6.3</c:v>
                </c:pt>
                <c:pt idx="8">
                  <c:v>7.3 - 13.3</c:v>
                </c:pt>
                <c:pt idx="9">
                  <c:v>14.3 - 20.3</c:v>
                </c:pt>
                <c:pt idx="10">
                  <c:v>21.3 - 27.3</c:v>
                </c:pt>
                <c:pt idx="11">
                  <c:v>28.3 - 3.4</c:v>
                </c:pt>
                <c:pt idx="12">
                  <c:v>4.4 - 10.4</c:v>
                </c:pt>
                <c:pt idx="13">
                  <c:v>11.4 - 17.4</c:v>
                </c:pt>
                <c:pt idx="14">
                  <c:v>18.4 - 24.4</c:v>
                </c:pt>
                <c:pt idx="15">
                  <c:v>25.4 - 1.5</c:v>
                </c:pt>
                <c:pt idx="16">
                  <c:v>2.5 - 8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542.93371226448926</c:v>
                </c:pt>
                <c:pt idx="1">
                  <c:v>452.35904188344443</c:v>
                </c:pt>
                <c:pt idx="2">
                  <c:v>441.23124323039434</c:v>
                </c:pt>
                <c:pt idx="3">
                  <c:v>468.99463331518911</c:v>
                </c:pt>
                <c:pt idx="4">
                  <c:v>495.9631806390517</c:v>
                </c:pt>
                <c:pt idx="5">
                  <c:v>608.74669286967128</c:v>
                </c:pt>
                <c:pt idx="6">
                  <c:v>769.60416549972842</c:v>
                </c:pt>
                <c:pt idx="7">
                  <c:v>803.02496582409901</c:v>
                </c:pt>
                <c:pt idx="8">
                  <c:v>726.51433676590079</c:v>
                </c:pt>
                <c:pt idx="9">
                  <c:v>615.81611789631495</c:v>
                </c:pt>
                <c:pt idx="10">
                  <c:v>468.04082200207051</c:v>
                </c:pt>
                <c:pt idx="11">
                  <c:v>344.24172421406183</c:v>
                </c:pt>
                <c:pt idx="12">
                  <c:v>264.46756429038919</c:v>
                </c:pt>
                <c:pt idx="13">
                  <c:v>202.38566911593568</c:v>
                </c:pt>
                <c:pt idx="14">
                  <c:v>163.41032055634506</c:v>
                </c:pt>
                <c:pt idx="15">
                  <c:v>137.41428672821118</c:v>
                </c:pt>
                <c:pt idx="16">
                  <c:v>102.3196410602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998-4C03-97A5-6004D3B700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57245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20724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8056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804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43030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74671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7143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87358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55072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7341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8.png"/><Relationship Id="rId4" Type="http://schemas.openxmlformats.org/officeDocument/2006/relationships/image" Target="../media/image80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10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10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80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5.svg"/><Relationship Id="rId4" Type="http://schemas.openxmlformats.org/officeDocument/2006/relationships/image" Target="../media/image10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8.png"/><Relationship Id="rId4" Type="http://schemas.openxmlformats.org/officeDocument/2006/relationships/image" Target="../media/image80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42907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85297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65472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39833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778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5808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297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4475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66931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8637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06422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62384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206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94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401797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6105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639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930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309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70601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46962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2796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91854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28473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17925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53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8869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807710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08225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11023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040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14587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057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5812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image" Target="../media/image5.svg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80.sv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7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995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319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92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34.xml"/><Relationship Id="rId4" Type="http://schemas.openxmlformats.org/officeDocument/2006/relationships/tags" Target="../tags/tag7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chart" Target="../charts/chart8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chart" Target="../charts/chart7.xml"/><Relationship Id="rId2" Type="http://schemas.openxmlformats.org/officeDocument/2006/relationships/tags" Target="../tags/tag75.xml"/><Relationship Id="rId16" Type="http://schemas.openxmlformats.org/officeDocument/2006/relationships/slideLayout" Target="../slideLayouts/slideLayout21.xml"/><Relationship Id="rId20" Type="http://schemas.openxmlformats.org/officeDocument/2006/relationships/chart" Target="../charts/chart10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10" Type="http://schemas.openxmlformats.org/officeDocument/2006/relationships/tags" Target="../tags/tag83.xml"/><Relationship Id="rId19" Type="http://schemas.openxmlformats.org/officeDocument/2006/relationships/chart" Target="../charts/chart9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chart" Target="../charts/chart12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chart" Target="../charts/chart11.xml"/><Relationship Id="rId2" Type="http://schemas.openxmlformats.org/officeDocument/2006/relationships/tags" Target="../tags/tag90.xml"/><Relationship Id="rId16" Type="http://schemas.openxmlformats.org/officeDocument/2006/relationships/slideLayout" Target="../slideLayouts/slideLayout21.xml"/><Relationship Id="rId20" Type="http://schemas.openxmlformats.org/officeDocument/2006/relationships/chart" Target="../charts/chart14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10" Type="http://schemas.openxmlformats.org/officeDocument/2006/relationships/tags" Target="../tags/tag98.xml"/><Relationship Id="rId19" Type="http://schemas.openxmlformats.org/officeDocument/2006/relationships/chart" Target="../charts/chart13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chart" Target="../charts/chart16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chart" Target="../charts/chart15.xml"/><Relationship Id="rId2" Type="http://schemas.openxmlformats.org/officeDocument/2006/relationships/tags" Target="../tags/tag105.xml"/><Relationship Id="rId16" Type="http://schemas.openxmlformats.org/officeDocument/2006/relationships/slideLayout" Target="../slideLayouts/slideLayout21.xml"/><Relationship Id="rId20" Type="http://schemas.openxmlformats.org/officeDocument/2006/relationships/chart" Target="../charts/chart18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chart" Target="../charts/chart17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chart" Target="../charts/chart20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chart" Target="../charts/chart19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slideLayout" Target="../slideLayouts/slideLayout21.xml"/><Relationship Id="rId5" Type="http://schemas.openxmlformats.org/officeDocument/2006/relationships/tags" Target="../tags/tag123.xml"/><Relationship Id="rId10" Type="http://schemas.openxmlformats.org/officeDocument/2006/relationships/tags" Target="../tags/tag128.xml"/><Relationship Id="rId4" Type="http://schemas.openxmlformats.org/officeDocument/2006/relationships/tags" Target="../tags/tag122.xml"/><Relationship Id="rId9" Type="http://schemas.openxmlformats.org/officeDocument/2006/relationships/tags" Target="../tags/tag12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chart" Target="../charts/chart22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chart" Target="../charts/chart2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slideLayout" Target="../slideLayouts/slideLayout34.xml"/><Relationship Id="rId5" Type="http://schemas.openxmlformats.org/officeDocument/2006/relationships/tags" Target="../tags/tag133.xml"/><Relationship Id="rId10" Type="http://schemas.openxmlformats.org/officeDocument/2006/relationships/tags" Target="../tags/tag138.xml"/><Relationship Id="rId4" Type="http://schemas.openxmlformats.org/officeDocument/2006/relationships/tags" Target="../tags/tag132.xml"/><Relationship Id="rId9" Type="http://schemas.openxmlformats.org/officeDocument/2006/relationships/tags" Target="../tags/tag1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chart" Target="../charts/chart24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chart" Target="../charts/chart23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slideLayout" Target="../slideLayouts/slideLayout34.xml"/><Relationship Id="rId5" Type="http://schemas.openxmlformats.org/officeDocument/2006/relationships/tags" Target="../tags/tag143.xml"/><Relationship Id="rId10" Type="http://schemas.openxmlformats.org/officeDocument/2006/relationships/tags" Target="../tags/tag148.xml"/><Relationship Id="rId4" Type="http://schemas.openxmlformats.org/officeDocument/2006/relationships/tags" Target="../tags/tag142.xml"/><Relationship Id="rId9" Type="http://schemas.openxmlformats.org/officeDocument/2006/relationships/tags" Target="../tags/tag14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12" Type="http://schemas.openxmlformats.org/officeDocument/2006/relationships/chart" Target="../charts/chart26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11" Type="http://schemas.openxmlformats.org/officeDocument/2006/relationships/chart" Target="../charts/chart25.xml"/><Relationship Id="rId5" Type="http://schemas.openxmlformats.org/officeDocument/2006/relationships/tags" Target="../tags/tag153.xml"/><Relationship Id="rId10" Type="http://schemas.openxmlformats.org/officeDocument/2006/relationships/slideLayout" Target="../slideLayouts/slideLayout34.xml"/><Relationship Id="rId4" Type="http://schemas.openxmlformats.org/officeDocument/2006/relationships/tags" Target="../tags/tag152.xml"/><Relationship Id="rId9" Type="http://schemas.openxmlformats.org/officeDocument/2006/relationships/tags" Target="../tags/tag15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.xml"/><Relationship Id="rId3" Type="http://schemas.openxmlformats.org/officeDocument/2006/relationships/tags" Target="../tags/tag160.xml"/><Relationship Id="rId7" Type="http://schemas.openxmlformats.org/officeDocument/2006/relationships/chart" Target="../charts/chart27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slideLayout" Target="../slideLayouts/slideLayout34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image" Target="../media/image25.png"/><Relationship Id="rId5" Type="http://schemas.openxmlformats.org/officeDocument/2006/relationships/tags" Target="../tags/tag167.xml"/><Relationship Id="rId10" Type="http://schemas.openxmlformats.org/officeDocument/2006/relationships/slideLayout" Target="../slideLayouts/slideLayout34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10" Type="http://schemas.openxmlformats.org/officeDocument/2006/relationships/chart" Target="../charts/chart29.xml"/><Relationship Id="rId4" Type="http://schemas.openxmlformats.org/officeDocument/2006/relationships/tags" Target="../tags/tag176.xml"/><Relationship Id="rId9" Type="http://schemas.openxmlformats.org/officeDocument/2006/relationships/slideLayout" Target="../slideLayouts/slideLayout3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10" Type="http://schemas.openxmlformats.org/officeDocument/2006/relationships/chart" Target="../charts/chart30.xml"/><Relationship Id="rId4" Type="http://schemas.openxmlformats.org/officeDocument/2006/relationships/tags" Target="../tags/tag184.xml"/><Relationship Id="rId9" Type="http://schemas.openxmlformats.org/officeDocument/2006/relationships/slideLayout" Target="../slideLayouts/slideLayout3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89.xml"/><Relationship Id="rId4" Type="http://schemas.openxmlformats.org/officeDocument/2006/relationships/chart" Target="../charts/chart3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190.xml"/><Relationship Id="rId4" Type="http://schemas.openxmlformats.org/officeDocument/2006/relationships/image" Target="../media/image2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2.xml"/><Relationship Id="rId3" Type="http://schemas.openxmlformats.org/officeDocument/2006/relationships/tags" Target="../tags/tag193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5.xml"/><Relationship Id="rId4" Type="http://schemas.openxmlformats.org/officeDocument/2006/relationships/tags" Target="../tags/tag19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198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5" Type="http://schemas.openxmlformats.org/officeDocument/2006/relationships/tags" Target="../tags/tag200.xml"/><Relationship Id="rId4" Type="http://schemas.openxmlformats.org/officeDocument/2006/relationships/tags" Target="../tags/tag19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chart" Target="../charts/chart33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0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chart" Target="../charts/chart34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0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2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chart" Target="../charts/chart4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slideLayout" Target="../slideLayouts/slideLayout3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image" Target="../media/image15.png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image" Target="../media/image14.pn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18.pn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image" Target="../media/image17.png"/><Relationship Id="rId10" Type="http://schemas.openxmlformats.org/officeDocument/2006/relationships/tags" Target="../tags/tag38.xml"/><Relationship Id="rId19" Type="http://schemas.openxmlformats.org/officeDocument/2006/relationships/slideLayout" Target="../slideLayouts/slideLayout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image" Target="../media/image21.png"/><Relationship Id="rId3" Type="http://schemas.openxmlformats.org/officeDocument/2006/relationships/tags" Target="../tags/tag49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image" Target="../media/image20.png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image" Target="../media/image19.png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image" Target="../media/image15.png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slideLayout" Target="../slideLayouts/slideLayout47.xml"/><Relationship Id="rId27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9. 5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9</a:t>
            </a:r>
            <a:r>
              <a:rPr lang="cs-CZ" dirty="0" smtClean="0"/>
              <a:t>.5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992419" y="2193086"/>
            <a:ext cx="498606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zdíly mezi regiony se postupně zmenšují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8 regionů již kleslo v počtu denně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ově potvrzených případů pod hranici 100/100tis. o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/>
              </a:rPr>
              <a:t>byv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/>
              </a:rPr>
              <a:t>Klesající trend je významný ve všech krajích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769294"/>
              </p:ext>
            </p:extLst>
          </p:nvPr>
        </p:nvGraphicFramePr>
        <p:xfrm>
          <a:off x="579564" y="1033447"/>
          <a:ext cx="6019644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ní počet nových případů (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 (19.7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7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5 (14.4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2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ěsto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aha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 (12.3 %)</a:t>
                      </a:r>
                      <a:endParaRPr lang="cs-CZ" sz="16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1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 (8.9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3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 (7.6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2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 (5.8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8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(5.5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(5.2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9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(5.2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(4.7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(4.7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3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 (3.4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8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(1.6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5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3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1 (100.0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1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07207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" y="714307"/>
            <a:ext cx="11963400" cy="6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23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41" y="643128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7956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406" y="3801339"/>
            <a:ext cx="476804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</a:t>
            </a:r>
            <a:r>
              <a:rPr lang="cs-CZ" sz="2000" dirty="0">
                <a:latin typeface="+mn-lt"/>
              </a:rPr>
              <a:t>9</a:t>
            </a:r>
            <a:r>
              <a:rPr lang="pl-PL" sz="2000" dirty="0" smtClean="0">
                <a:latin typeface="+mn-lt"/>
              </a:rPr>
              <a:t>.5</a:t>
            </a:r>
            <a:r>
              <a:rPr lang="pl-PL" sz="2000" dirty="0">
                <a:latin typeface="+mn-lt"/>
              </a:rPr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931495"/>
              </p:ext>
            </p:extLst>
          </p:nvPr>
        </p:nvGraphicFramePr>
        <p:xfrm>
          <a:off x="270230" y="1097989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387152" y="2620417"/>
            <a:ext cx="465276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dnota reprodukčního čísla je &lt; 1 ve všech regionech. </a:t>
            </a:r>
            <a:endParaRPr kumimoji="0" lang="cs-CZ" sz="24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4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pidemie klesá a v důsledku toho se zmenšují rozdíly mezi regiony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017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72601" cy="576000"/>
          </a:xfrm>
        </p:spPr>
        <p:txBody>
          <a:bodyPr/>
          <a:lstStyle/>
          <a:p>
            <a:r>
              <a:rPr lang="cs-CZ" dirty="0"/>
              <a:t>Počty COVID-19 pozitivních na 100 000 v populaci v </a:t>
            </a:r>
            <a:r>
              <a:rPr lang="en-US" dirty="0" err="1"/>
              <a:t>kraj</a:t>
            </a:r>
            <a:r>
              <a:rPr lang="cs-CZ" dirty="0" err="1"/>
              <a:t>ích</a:t>
            </a:r>
            <a:r>
              <a:rPr lang="cs-CZ" dirty="0"/>
              <a:t> a Č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575382" y="3335853"/>
            <a:ext cx="5914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82917E-EB1A-42EA-B728-8C7B5FA8D5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58450" y="3429000"/>
            <a:ext cx="1159667" cy="16954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42967" y="3919301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193EB7-144D-460C-97CE-E2EC4848C1E4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5042019" y="765123"/>
            <a:ext cx="290557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8EA0C1D-374C-4981-AC45-7B9D37C21E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306936" y="646000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Kraj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0AEF043-182B-419C-A6BD-2E1FF6F1B57B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831083" y="777004"/>
            <a:ext cx="290557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0888145-4D3A-4A2B-AD0B-B53F94952DC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96000" y="657881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ČR</a:t>
            </a:r>
          </a:p>
        </p:txBody>
      </p:sp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39939136"/>
              </p:ext>
            </p:extLst>
          </p:nvPr>
        </p:nvGraphicFramePr>
        <p:xfrm>
          <a:off x="952139" y="1042122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1" name="TextBox 3">
            <a:extLst>
              <a:ext uri="{FF2B5EF4-FFF2-40B4-BE49-F238E27FC236}">
                <a16:creationId xmlns:a16="http://schemas.microsoft.com/office/drawing/2014/main" id="{FCE0B97D-4439-4640-84AF-FE88D63550A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102265" y="636686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Hlavní město Praha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458445" y="3890933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Jiho</a:t>
            </a:r>
            <a:r>
              <a:rPr lang="cs-CZ" b="1" dirty="0"/>
              <a:t>český kraj</a:t>
            </a:r>
          </a:p>
        </p:txBody>
      </p:sp>
      <p:graphicFrame>
        <p:nvGraphicFramePr>
          <p:cNvPr id="25" name="Graf 19">
            <a:extLst>
              <a:ext uri="{FF2B5EF4-FFF2-40B4-BE49-F238E27FC236}">
                <a16:creationId xmlns:a16="http://schemas.microsoft.com/office/drawing/2014/main" id="{6F19AD8C-15C8-410B-80BF-BE0DC5ED5D74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4576210"/>
              </p:ext>
            </p:extLst>
          </p:nvPr>
        </p:nvGraphicFramePr>
        <p:xfrm>
          <a:off x="6226674" y="99578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6" name="TextBox 3">
            <a:extLst>
              <a:ext uri="{FF2B5EF4-FFF2-40B4-BE49-F238E27FC236}">
                <a16:creationId xmlns:a16="http://schemas.microsoft.com/office/drawing/2014/main" id="{3BA28A12-FA36-4409-97C2-B28610D3947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376800" y="590348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7" name="Graf 19">
            <a:extLst>
              <a:ext uri="{FF2B5EF4-FFF2-40B4-BE49-F238E27FC236}">
                <a16:creationId xmlns:a16="http://schemas.microsoft.com/office/drawing/2014/main" id="{BAC29A40-7B38-417E-BC5B-CDD8E4B148A2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71551448"/>
              </p:ext>
            </p:extLst>
          </p:nvPr>
        </p:nvGraphicFramePr>
        <p:xfrm>
          <a:off x="984988" y="403447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28" name="Graf 19">
            <a:extLst>
              <a:ext uri="{FF2B5EF4-FFF2-40B4-BE49-F238E27FC236}">
                <a16:creationId xmlns:a16="http://schemas.microsoft.com/office/drawing/2014/main" id="{07D3790B-5A04-4CD6-BCBA-6E1849E6AD21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45478686"/>
              </p:ext>
            </p:extLst>
          </p:nvPr>
        </p:nvGraphicFramePr>
        <p:xfrm>
          <a:off x="6304165" y="403447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</p:spTree>
    <p:extLst>
      <p:ext uri="{BB962C8B-B14F-4D97-AF65-F5344CB8AC3E}">
        <p14:creationId xmlns:p14="http://schemas.microsoft.com/office/powerpoint/2010/main" val="18642377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72601" cy="576000"/>
          </a:xfrm>
        </p:spPr>
        <p:txBody>
          <a:bodyPr/>
          <a:lstStyle/>
          <a:p>
            <a:r>
              <a:rPr lang="cs-CZ" dirty="0"/>
              <a:t>Počty COVID-19 pozitivních na 100 000 v populaci v </a:t>
            </a:r>
            <a:r>
              <a:rPr lang="en-US" dirty="0" err="1"/>
              <a:t>kraj</a:t>
            </a:r>
            <a:r>
              <a:rPr lang="cs-CZ" dirty="0" err="1"/>
              <a:t>ích</a:t>
            </a:r>
            <a:r>
              <a:rPr lang="cs-CZ" dirty="0"/>
              <a:t> a Č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575382" y="3335853"/>
            <a:ext cx="5914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82917E-EB1A-42EA-B728-8C7B5FA8D5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58450" y="3429000"/>
            <a:ext cx="1159667" cy="16954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42967" y="3919301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193EB7-144D-460C-97CE-E2EC4848C1E4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5042019" y="765123"/>
            <a:ext cx="290557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8EA0C1D-374C-4981-AC45-7B9D37C21E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306936" y="646000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Kraj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0AEF043-182B-419C-A6BD-2E1FF6F1B57B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831083" y="777004"/>
            <a:ext cx="290557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0888145-4D3A-4A2B-AD0B-B53F94952DC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96000" y="657881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ČR</a:t>
            </a:r>
          </a:p>
        </p:txBody>
      </p:sp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59720040"/>
              </p:ext>
            </p:extLst>
          </p:nvPr>
        </p:nvGraphicFramePr>
        <p:xfrm>
          <a:off x="952139" y="1042122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1" name="TextBox 3">
            <a:extLst>
              <a:ext uri="{FF2B5EF4-FFF2-40B4-BE49-F238E27FC236}">
                <a16:creationId xmlns:a16="http://schemas.microsoft.com/office/drawing/2014/main" id="{FCE0B97D-4439-4640-84AF-FE88D63550A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102265" y="636686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458445" y="3890933"/>
            <a:ext cx="1736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graphicFrame>
        <p:nvGraphicFramePr>
          <p:cNvPr id="25" name="Graf 19">
            <a:extLst>
              <a:ext uri="{FF2B5EF4-FFF2-40B4-BE49-F238E27FC236}">
                <a16:creationId xmlns:a16="http://schemas.microsoft.com/office/drawing/2014/main" id="{6F19AD8C-15C8-410B-80BF-BE0DC5ED5D74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23499978"/>
              </p:ext>
            </p:extLst>
          </p:nvPr>
        </p:nvGraphicFramePr>
        <p:xfrm>
          <a:off x="6226674" y="99578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6" name="TextBox 3">
            <a:extLst>
              <a:ext uri="{FF2B5EF4-FFF2-40B4-BE49-F238E27FC236}">
                <a16:creationId xmlns:a16="http://schemas.microsoft.com/office/drawing/2014/main" id="{3BA28A12-FA36-4409-97C2-B28610D3947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376800" y="590348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7" name="Graf 19">
            <a:extLst>
              <a:ext uri="{FF2B5EF4-FFF2-40B4-BE49-F238E27FC236}">
                <a16:creationId xmlns:a16="http://schemas.microsoft.com/office/drawing/2014/main" id="{BAC29A40-7B38-417E-BC5B-CDD8E4B148A2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85416802"/>
              </p:ext>
            </p:extLst>
          </p:nvPr>
        </p:nvGraphicFramePr>
        <p:xfrm>
          <a:off x="984988" y="403447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28" name="Graf 19">
            <a:extLst>
              <a:ext uri="{FF2B5EF4-FFF2-40B4-BE49-F238E27FC236}">
                <a16:creationId xmlns:a16="http://schemas.microsoft.com/office/drawing/2014/main" id="{07D3790B-5A04-4CD6-BCBA-6E1849E6AD21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99967682"/>
              </p:ext>
            </p:extLst>
          </p:nvPr>
        </p:nvGraphicFramePr>
        <p:xfrm>
          <a:off x="6304165" y="403447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</p:spTree>
    <p:extLst>
      <p:ext uri="{BB962C8B-B14F-4D97-AF65-F5344CB8AC3E}">
        <p14:creationId xmlns:p14="http://schemas.microsoft.com/office/powerpoint/2010/main" val="38510803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72601" cy="576000"/>
          </a:xfrm>
        </p:spPr>
        <p:txBody>
          <a:bodyPr/>
          <a:lstStyle/>
          <a:p>
            <a:r>
              <a:rPr lang="cs-CZ" dirty="0"/>
              <a:t>Počty COVID-19 pozitivních na 100 000 v populaci v </a:t>
            </a:r>
            <a:r>
              <a:rPr lang="en-US" dirty="0" err="1"/>
              <a:t>kraj</a:t>
            </a:r>
            <a:r>
              <a:rPr lang="cs-CZ" dirty="0" err="1"/>
              <a:t>ích</a:t>
            </a:r>
            <a:r>
              <a:rPr lang="cs-CZ" dirty="0"/>
              <a:t> a Č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575382" y="3335853"/>
            <a:ext cx="5914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82917E-EB1A-42EA-B728-8C7B5FA8D5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58450" y="3429000"/>
            <a:ext cx="1159667" cy="16954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42967" y="3919301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193EB7-144D-460C-97CE-E2EC4848C1E4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5042019" y="765123"/>
            <a:ext cx="290557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8EA0C1D-374C-4981-AC45-7B9D37C21E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306936" y="646000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Kraj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0AEF043-182B-419C-A6BD-2E1FF6F1B57B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831083" y="777004"/>
            <a:ext cx="290557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0888145-4D3A-4A2B-AD0B-B53F94952DC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96000" y="657881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ČR</a:t>
            </a:r>
          </a:p>
        </p:txBody>
      </p:sp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39273253"/>
              </p:ext>
            </p:extLst>
          </p:nvPr>
        </p:nvGraphicFramePr>
        <p:xfrm>
          <a:off x="952139" y="1042122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1" name="TextBox 3">
            <a:extLst>
              <a:ext uri="{FF2B5EF4-FFF2-40B4-BE49-F238E27FC236}">
                <a16:creationId xmlns:a16="http://schemas.microsoft.com/office/drawing/2014/main" id="{FCE0B97D-4439-4640-84AF-FE88D63550A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102265" y="636686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458445" y="3890933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5" name="Graf 19">
            <a:extLst>
              <a:ext uri="{FF2B5EF4-FFF2-40B4-BE49-F238E27FC236}">
                <a16:creationId xmlns:a16="http://schemas.microsoft.com/office/drawing/2014/main" id="{6F19AD8C-15C8-410B-80BF-BE0DC5ED5D74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26622072"/>
              </p:ext>
            </p:extLst>
          </p:nvPr>
        </p:nvGraphicFramePr>
        <p:xfrm>
          <a:off x="6226674" y="99578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6" name="TextBox 3">
            <a:extLst>
              <a:ext uri="{FF2B5EF4-FFF2-40B4-BE49-F238E27FC236}">
                <a16:creationId xmlns:a16="http://schemas.microsoft.com/office/drawing/2014/main" id="{3BA28A12-FA36-4409-97C2-B28610D3947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376800" y="590348"/>
            <a:ext cx="1702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7" name="Graf 19">
            <a:extLst>
              <a:ext uri="{FF2B5EF4-FFF2-40B4-BE49-F238E27FC236}">
                <a16:creationId xmlns:a16="http://schemas.microsoft.com/office/drawing/2014/main" id="{BAC29A40-7B38-417E-BC5B-CDD8E4B148A2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0543687"/>
              </p:ext>
            </p:extLst>
          </p:nvPr>
        </p:nvGraphicFramePr>
        <p:xfrm>
          <a:off x="984988" y="403447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28" name="Graf 19">
            <a:extLst>
              <a:ext uri="{FF2B5EF4-FFF2-40B4-BE49-F238E27FC236}">
                <a16:creationId xmlns:a16="http://schemas.microsoft.com/office/drawing/2014/main" id="{07D3790B-5A04-4CD6-BCBA-6E1849E6AD21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09890167"/>
              </p:ext>
            </p:extLst>
          </p:nvPr>
        </p:nvGraphicFramePr>
        <p:xfrm>
          <a:off x="6304165" y="403447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</p:spTree>
    <p:extLst>
      <p:ext uri="{BB962C8B-B14F-4D97-AF65-F5344CB8AC3E}">
        <p14:creationId xmlns:p14="http://schemas.microsoft.com/office/powerpoint/2010/main" val="802318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72601" cy="576000"/>
          </a:xfrm>
        </p:spPr>
        <p:txBody>
          <a:bodyPr/>
          <a:lstStyle/>
          <a:p>
            <a:r>
              <a:rPr lang="cs-CZ" dirty="0"/>
              <a:t>Počty COVID-19 pozitivních na 100 000 v populaci v </a:t>
            </a:r>
            <a:r>
              <a:rPr lang="en-US" dirty="0" err="1"/>
              <a:t>kraj</a:t>
            </a:r>
            <a:r>
              <a:rPr lang="cs-CZ" dirty="0" err="1"/>
              <a:t>ích</a:t>
            </a:r>
            <a:r>
              <a:rPr lang="cs-CZ" dirty="0"/>
              <a:t> a Č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575382" y="3335853"/>
            <a:ext cx="5914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193EB7-144D-460C-97CE-E2EC4848C1E4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042019" y="1847304"/>
            <a:ext cx="290557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8EA0C1D-374C-4981-AC45-7B9D37C21E1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306936" y="1728181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Kraj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0AEF043-182B-419C-A6BD-2E1FF6F1B57B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5831083" y="1859185"/>
            <a:ext cx="290557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0888145-4D3A-4A2B-AD0B-B53F94952DC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096000" y="1740062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ČR</a:t>
            </a:r>
          </a:p>
        </p:txBody>
      </p:sp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152016"/>
              </p:ext>
            </p:extLst>
          </p:nvPr>
        </p:nvGraphicFramePr>
        <p:xfrm>
          <a:off x="952139" y="2124303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1" name="TextBox 3">
            <a:extLst>
              <a:ext uri="{FF2B5EF4-FFF2-40B4-BE49-F238E27FC236}">
                <a16:creationId xmlns:a16="http://schemas.microsoft.com/office/drawing/2014/main" id="{FCE0B97D-4439-4640-84AF-FE88D63550A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102265" y="1718867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5" name="Graf 19">
            <a:extLst>
              <a:ext uri="{FF2B5EF4-FFF2-40B4-BE49-F238E27FC236}">
                <a16:creationId xmlns:a16="http://schemas.microsoft.com/office/drawing/2014/main" id="{6F19AD8C-15C8-410B-80BF-BE0DC5ED5D74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2800915"/>
              </p:ext>
            </p:extLst>
          </p:nvPr>
        </p:nvGraphicFramePr>
        <p:xfrm>
          <a:off x="6226674" y="2077965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6" name="TextBox 3">
            <a:extLst>
              <a:ext uri="{FF2B5EF4-FFF2-40B4-BE49-F238E27FC236}">
                <a16:creationId xmlns:a16="http://schemas.microsoft.com/office/drawing/2014/main" id="{3BA28A12-FA36-4409-97C2-B28610D3947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376800" y="1672529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</p:spTree>
    <p:extLst>
      <p:ext uri="{BB962C8B-B14F-4D97-AF65-F5344CB8AC3E}">
        <p14:creationId xmlns:p14="http://schemas.microsoft.com/office/powerpoint/2010/main" val="42520001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: </a:t>
            </a:r>
            <a:br>
              <a:rPr lang="pl-PL" sz="2000" dirty="0">
                <a:latin typeface="+mn-lt"/>
              </a:rPr>
            </a:br>
            <a:r>
              <a:rPr lang="pl-PL" sz="2000" dirty="0">
                <a:latin typeface="+mn-lt"/>
              </a:rPr>
              <a:t>srovnání krajů k </a:t>
            </a:r>
            <a:r>
              <a:rPr lang="cs-CZ" sz="2000" dirty="0">
                <a:latin typeface="+mn-lt"/>
              </a:rPr>
              <a:t>8</a:t>
            </a:r>
            <a:r>
              <a:rPr lang="pl-PL" sz="2000" dirty="0">
                <a:latin typeface="+mn-lt"/>
              </a:rPr>
              <a:t>.5.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Arial" panose="020B0604020202020204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19" y="4508652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91185516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29378583"/>
              </p:ext>
            </p:ext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90239" y="2419195"/>
            <a:ext cx="322872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á v čase téměř ve všech regionech.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/>
              </a:rPr>
              <a:t>Mírně z</a:t>
            </a:r>
            <a:r>
              <a:rPr kumimoji="0" lang="cs-CZ" sz="2000" b="1" i="0" u="none" strike="noStrike" kern="1200" cap="none" spc="0" normalizeH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šené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y 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kazují 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e Jihočeský a Olomoucký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942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54132" y="1910823"/>
            <a:ext cx="1182052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lang="cs-CZ" sz="3200" b="1" u="sng" dirty="0" smtClean="0">
                <a:solidFill>
                  <a:srgbClr val="0000FF"/>
                </a:solidFill>
                <a:latin typeface="Calibri" panose="020F0502020204030204"/>
              </a:rPr>
              <a:t>1 6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Stále klesá relativní pozitivita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ovaných testů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Významný je i pokles nově nakažených potenciálně zranitelných skupin obyvatel. Reprodukční číslo osciluje mezi 0,70 – 0,9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5" y="416003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5" y="562144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ě diagnostikovaní symptomatičtí pacienti za 7 dní na 100 000 obyvatel: </a:t>
            </a:r>
            <a:br>
              <a:rPr lang="pl-PL" sz="2000" dirty="0"/>
            </a:br>
            <a:r>
              <a:rPr lang="pl-PL" sz="2000" dirty="0"/>
              <a:t>srovnání krajů k </a:t>
            </a:r>
            <a:r>
              <a:rPr lang="cs-CZ" sz="2000" dirty="0"/>
              <a:t>8</a:t>
            </a:r>
            <a:r>
              <a:rPr lang="pl-PL" sz="2000" dirty="0"/>
              <a:t>.5.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64747" y="853052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933483" y="78916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996648" y="846909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28205" y="783020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152409" y="840381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303016" y="776492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Arial" panose="020B0604020202020204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19" y="3839117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57577498"/>
              </p:ext>
            </p:extLst>
          </p:nvPr>
        </p:nvGraphicFramePr>
        <p:xfrm>
          <a:off x="4614696" y="1146877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2883455"/>
              </p:ext>
            </p:extLst>
          </p:nvPr>
        </p:nvGraphicFramePr>
        <p:xfrm>
          <a:off x="224224" y="1146877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05930" y="2015013"/>
            <a:ext cx="348995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nově diagnostikovaných a symptomatických případů klesá v čase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tomto indikátoru jsou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ále patrné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lké rozdíly mezi regiony.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vyšš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přetrvává ve Zlínském a dále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Jihočeském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i. </a:t>
            </a:r>
          </a:p>
        </p:txBody>
      </p:sp>
    </p:spTree>
    <p:extLst>
      <p:ext uri="{BB962C8B-B14F-4D97-AF65-F5344CB8AC3E}">
        <p14:creationId xmlns:p14="http://schemas.microsoft.com/office/powerpoint/2010/main" val="13279863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8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38521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48849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9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11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1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36723701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2050410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574840" cy="681036"/>
          </a:xfrm>
        </p:spPr>
        <p:txBody>
          <a:bodyPr>
            <a:normAutofit/>
          </a:bodyPr>
          <a:lstStyle/>
          <a:p>
            <a:r>
              <a:rPr lang="en-US" sz="2000" dirty="0"/>
              <a:t>R a </a:t>
            </a:r>
            <a:r>
              <a:rPr lang="en-US" sz="2000" dirty="0" err="1"/>
              <a:t>relativn</a:t>
            </a:r>
            <a:r>
              <a:rPr lang="cs-CZ" sz="2000" dirty="0"/>
              <a:t>í pozitivita diagnostických a epidemiologických testů:</a:t>
            </a:r>
            <a:r>
              <a:rPr lang="pl-PL" sz="2000" dirty="0"/>
              <a:t> 20 okresů s nejvyššími hodnotami k 8.5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055047"/>
              </p:ext>
            </p:extLst>
          </p:nvPr>
        </p:nvGraphicFramePr>
        <p:xfrm>
          <a:off x="71824" y="1253263"/>
          <a:ext cx="4995832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78728" y="945486"/>
            <a:ext cx="37882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zjednodušený výpočet) - 7 denní úseky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6423C72-8C59-4453-89FD-22BE4B5E3D4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46626344"/>
              </p:ext>
            </p:extLst>
          </p:nvPr>
        </p:nvGraphicFramePr>
        <p:xfrm>
          <a:off x="5719169" y="1253263"/>
          <a:ext cx="4886162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ovéPole 6">
            <a:extLst>
              <a:ext uri="{FF2B5EF4-FFF2-40B4-BE49-F238E27FC236}">
                <a16:creationId xmlns:a16="http://schemas.microsoft.com/office/drawing/2014/main" id="{90196FE6-CF73-4D61-BCFA-541780A714C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775880" y="945486"/>
            <a:ext cx="52886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/epidemiologických testů </a:t>
            </a:r>
          </a:p>
        </p:txBody>
      </p:sp>
    </p:spTree>
    <p:extLst>
      <p:ext uri="{BB962C8B-B14F-4D97-AF65-F5344CB8AC3E}">
        <p14:creationId xmlns:p14="http://schemas.microsoft.com/office/powerpoint/2010/main" val="29966091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41711011-5C8D-43EA-8F26-04918BC662B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8" r="9908"/>
          <a:stretch/>
        </p:blipFill>
        <p:spPr>
          <a:xfrm>
            <a:off x="427650" y="852204"/>
            <a:ext cx="7485373" cy="4703110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iálně 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Okresy </a:t>
            </a:r>
            <a:r>
              <a:rPr lang="cs-CZ" dirty="0" smtClean="0"/>
              <a:t>s </a:t>
            </a:r>
            <a:r>
              <a:rPr lang="cs-CZ" dirty="0"/>
              <a:t>vysokými 7denními novými počty pozitivních a R</a:t>
            </a:r>
            <a:r>
              <a:rPr lang="en-US" dirty="0" smtClean="0"/>
              <a:t>&lt;0</a:t>
            </a:r>
            <a:r>
              <a:rPr lang="cs-CZ" dirty="0" smtClean="0"/>
              <a:t>,</a:t>
            </a:r>
            <a:r>
              <a:rPr lang="en-US" dirty="0" smtClean="0"/>
              <a:t>95</a:t>
            </a:r>
            <a:endParaRPr lang="cs-CZ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≥</a:t>
            </a:r>
            <a:r>
              <a:rPr lang="en-US" dirty="0" smtClean="0"/>
              <a:t>0</a:t>
            </a:r>
            <a:r>
              <a:rPr lang="cs-CZ" dirty="0" smtClean="0"/>
              <a:t>,</a:t>
            </a:r>
            <a:r>
              <a:rPr lang="en-US" dirty="0" smtClean="0"/>
              <a:t>95</a:t>
            </a:r>
            <a:r>
              <a:rPr lang="en-US" dirty="0"/>
              <a:t>, ale </a:t>
            </a:r>
            <a:r>
              <a:rPr lang="en-US" dirty="0" err="1"/>
              <a:t>nespad</a:t>
            </a:r>
            <a:r>
              <a:rPr lang="cs-CZ" dirty="0"/>
              <a:t>á</a:t>
            </a:r>
            <a:r>
              <a:rPr lang="en-US" dirty="0"/>
              <a:t> </a:t>
            </a:r>
            <a:r>
              <a:rPr lang="en-US" dirty="0" err="1"/>
              <a:t>mezi</a:t>
            </a:r>
            <a:r>
              <a:rPr lang="cs-CZ" dirty="0"/>
              <a:t> 20 okresů s nejvyššími 7denními novými počty pozitivních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R≥0.95</a:t>
            </a:r>
            <a:r>
              <a:rPr lang="cs-CZ" b="1" dirty="0">
                <a:solidFill>
                  <a:srgbClr val="FF0000"/>
                </a:solidFill>
              </a:rPr>
              <a:t> a </a:t>
            </a:r>
            <a:r>
              <a:rPr lang="en-US" b="1" dirty="0" err="1">
                <a:solidFill>
                  <a:srgbClr val="FF0000"/>
                </a:solidFill>
              </a:rPr>
              <a:t>spad</a:t>
            </a:r>
            <a:r>
              <a:rPr lang="cs-CZ" b="1" dirty="0">
                <a:solidFill>
                  <a:srgbClr val="FF0000"/>
                </a:solidFill>
              </a:rPr>
              <a:t>á</a:t>
            </a:r>
            <a:r>
              <a:rPr lang="en-US" b="1" dirty="0">
                <a:solidFill>
                  <a:srgbClr val="FF0000"/>
                </a:solidFill>
              </a:rPr>
              <a:t> </a:t>
            </a:r>
            <a:r>
              <a:rPr lang="en-US" b="1" dirty="0" err="1">
                <a:solidFill>
                  <a:srgbClr val="FF0000"/>
                </a:solidFill>
              </a:rPr>
              <a:t>mezi</a:t>
            </a:r>
            <a:r>
              <a:rPr lang="cs-CZ" b="1" dirty="0">
                <a:solidFill>
                  <a:srgbClr val="FF0000"/>
                </a:solidFill>
              </a:rPr>
              <a:t> 20 okresů s nejvyššími 7denními novými počty pozitivních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22098505"/>
              </p:ext>
            </p:extLst>
          </p:nvPr>
        </p:nvGraphicFramePr>
        <p:xfrm>
          <a:off x="9503252" y="852204"/>
          <a:ext cx="2261098" cy="5795010"/>
        </p:xfrm>
        <a:graphic>
          <a:graphicData uri="http://schemas.openxmlformats.org/drawingml/2006/table">
            <a:tbl>
              <a:tblPr/>
              <a:tblGrid>
                <a:gridCol w="2261098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lav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řebíč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ndřichův Hrade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hřim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ojm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l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6574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1632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st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2399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3633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5458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2703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6407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69898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79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okol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48779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utná Hor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52627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rno-venk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8898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6742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68719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pozitivita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7470965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131716" cy="576000"/>
          </a:xfrm>
        </p:spPr>
        <p:txBody>
          <a:bodyPr/>
          <a:lstStyle/>
          <a:p>
            <a:r>
              <a:rPr lang="cs-CZ" dirty="0"/>
              <a:t>Počet provedených a vykázaných AG testů v ČR 1. 2. – 7. 5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38941" y="807449"/>
            <a:ext cx="10881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</a:t>
            </a: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AG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silně narostl zejména po 1.3. 2021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dále je v čase stabilní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702359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7842" y="2740066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120700" y="2702359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53921" y="2702446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F816139-797E-4D7D-B7CA-C1D0C58F362B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821723" y="1368526"/>
          <a:ext cx="10515598" cy="1318260"/>
        </p:xfrm>
        <a:graphic>
          <a:graphicData uri="http://schemas.openxmlformats.org/drawingml/2006/table">
            <a:tbl>
              <a:tblPr/>
              <a:tblGrid>
                <a:gridCol w="784746">
                  <a:extLst>
                    <a:ext uri="{9D8B030D-6E8A-4147-A177-3AD203B41FA5}">
                      <a16:colId xmlns:a16="http://schemas.microsoft.com/office/drawing/2014/main" val="2858040347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277427838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789907185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660301241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075066792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936262364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4153083990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28389790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3158500584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3652100190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088191732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300124037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3981172171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1293711970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485570029"/>
                    </a:ext>
                  </a:extLst>
                </a:gridCol>
              </a:tblGrid>
              <a:tr h="433977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341471"/>
                  </a:ext>
                </a:extLst>
              </a:tr>
              <a:tr h="240357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9455309"/>
                  </a:ext>
                </a:extLst>
              </a:tr>
              <a:tr h="267063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 35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 26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17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6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40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775512"/>
                  </a:ext>
                </a:extLst>
              </a:tr>
              <a:tr h="2603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0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0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0162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35549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789970" cy="576000"/>
          </a:xfrm>
        </p:spPr>
        <p:txBody>
          <a:bodyPr/>
          <a:lstStyle/>
          <a:p>
            <a:r>
              <a:rPr lang="cs-CZ" dirty="0"/>
              <a:t>Počet provedených a vykázaných PCR testů v ČR 1. 2. – 7. 5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92075" y="755977"/>
            <a:ext cx="117331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postupně klesá – klesají klinicky indikované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y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7842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120700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53921" y="2628557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F2C0711-8C50-4456-B704-D724440C868B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838203" y="1300807"/>
          <a:ext cx="10515594" cy="1305560"/>
        </p:xfrm>
        <a:graphic>
          <a:graphicData uri="http://schemas.openxmlformats.org/drawingml/2006/table">
            <a:tbl>
              <a:tblPr/>
              <a:tblGrid>
                <a:gridCol w="764109">
                  <a:extLst>
                    <a:ext uri="{9D8B030D-6E8A-4147-A177-3AD203B41FA5}">
                      <a16:colId xmlns:a16="http://schemas.microsoft.com/office/drawing/2014/main" val="2943782384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2443191312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2330795336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1947145909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647294438"/>
                    </a:ext>
                  </a:extLst>
                </a:gridCol>
                <a:gridCol w="887822">
                  <a:extLst>
                    <a:ext uri="{9D8B030D-6E8A-4147-A177-3AD203B41FA5}">
                      <a16:colId xmlns:a16="http://schemas.microsoft.com/office/drawing/2014/main" val="1932661436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2923486181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190087719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3272375174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3833856480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813885384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3512162905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2101902586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500996675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344922959"/>
                    </a:ext>
                  </a:extLst>
                </a:gridCol>
              </a:tblGrid>
              <a:tr h="421056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950285"/>
                  </a:ext>
                </a:extLst>
              </a:tr>
              <a:tr h="23320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1344928"/>
                  </a:ext>
                </a:extLst>
              </a:tr>
              <a:tr h="259111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70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99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90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29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54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4835683"/>
                  </a:ext>
                </a:extLst>
              </a:tr>
              <a:tr h="25263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,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,1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,6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,2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1699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93656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AFFB5718-2729-443E-ABC5-A6B7D6F8A1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444379"/>
              </p:ext>
            </p:extLst>
          </p:nvPr>
        </p:nvGraphicFramePr>
        <p:xfrm>
          <a:off x="1526732" y="498349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34454" y="2625468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598173" y="967356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diagnostické a klinické indikac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průkazný indikátor zpomalování šíření epidemie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434" y="1494596"/>
            <a:ext cx="11010900" cy="528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0166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/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DED6C9AA-9D60-4958-8662-935CC4993D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965860"/>
              </p:ext>
            </p:extLst>
          </p:nvPr>
        </p:nvGraphicFramePr>
        <p:xfrm>
          <a:off x="1485788" y="552940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93510" y="2680059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A097BF6-68A1-4D50-803F-482D0AA07F45}"/>
              </a:ext>
            </a:extLst>
          </p:cNvPr>
          <p:cNvSpPr txBox="1"/>
          <p:nvPr/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epidemiologické indikac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průkazný indikátor zpomalování šíření epidemie</a:t>
            </a:r>
          </a:p>
        </p:txBody>
      </p:sp>
    </p:spTree>
    <p:extLst>
      <p:ext uri="{BB962C8B-B14F-4D97-AF65-F5344CB8AC3E}">
        <p14:creationId xmlns:p14="http://schemas.microsoft.com/office/powerpoint/2010/main" val="2752488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Počty testů dle indikace a účelu: 3. 5.–9. 5.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740" y="908304"/>
            <a:ext cx="11391900" cy="5949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8220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2001537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888A9585-C5F1-44DC-831F-905F5A9BA62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4.–1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25747403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Zátěž nemocnic klesá v důsledku klesajícího počtu nákaz zranitelných pacientů </a:t>
            </a:r>
          </a:p>
        </p:txBody>
      </p:sp>
    </p:spTree>
    <p:extLst>
      <p:ext uri="{BB962C8B-B14F-4D97-AF65-F5344CB8AC3E}">
        <p14:creationId xmlns:p14="http://schemas.microsoft.com/office/powerpoint/2010/main" val="34102471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6946661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53063" y="22149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46F8619C-C538-4515-8A87-3AAFD1CBF9E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844119"/>
              </p:ext>
            </p:extLst>
          </p:nvPr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 42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ty nových pacientů z potenciálně zranitelných skupin setrvale klesají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de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 pozitivní efekt postupující vakcinace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Šipka doprava 1">
            <a:extLst>
              <a:ext uri="{FF2B5EF4-FFF2-40B4-BE49-F238E27FC236}">
                <a16:creationId xmlns:a16="http://schemas.microsoft.com/office/drawing/2014/main" id="{B1D27FC9-EC46-49D1-BC34-CC1C1B54C31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699119">
            <a:off x="11050680" y="5210153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1620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B8180389-5AB8-46B2-A6C3-4C064FE231E7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Z" sz="4000" b="1" dirty="0"/>
              <a:t>Aktuální </a:t>
            </a:r>
            <a:r>
              <a:rPr lang="cs-CZ" sz="4000" b="1" dirty="0"/>
              <a:t>počty </a:t>
            </a:r>
            <a:r>
              <a:rPr lang="en-CZ" sz="4000" b="1" dirty="0"/>
              <a:t>hospitalizovaných</a:t>
            </a:r>
            <a:r>
              <a:rPr lang="cs-CZ" sz="4000" b="1" dirty="0"/>
              <a:t> pacientů klesají</a:t>
            </a:r>
            <a:br>
              <a:rPr lang="cs-CZ" sz="4000" b="1" dirty="0"/>
            </a:br>
            <a:r>
              <a:rPr lang="cs-CZ" sz="4000" b="1" dirty="0"/>
              <a:t>a roste i dostupná kapacita lůžek, včetně JIP</a:t>
            </a:r>
            <a:endParaRPr lang="cs-CZ" sz="4000" dirty="0"/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AD9B1B1B-E404-4FE1-AA96-7901DE64187D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8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8806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/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8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B16DAE25-9C50-4F6B-921E-10B8D337666E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2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284334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/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2E1F5C06-F381-4AD6-8682-592EF5C878BC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6604509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142875" y="2735152"/>
            <a:ext cx="1156149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pokračujícím vývoji lze celorepublikově dosáhnout hranice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7denního počtu nově potvrzených případů 100/100tis. </a:t>
            </a:r>
            <a:r>
              <a:rPr kumimoji="0" lang="cs-CZ" sz="3200" b="1" i="0" u="none" strike="noStrike" kern="1200" cap="none" spc="0" normalizeH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yv</a:t>
            </a:r>
            <a:r>
              <a:rPr lang="cs-CZ" sz="3200" b="1" dirty="0">
                <a:solidFill>
                  <a:srgbClr val="0000FF"/>
                </a:solidFill>
                <a:latin typeface="Calibri" panose="020F0502020204030204"/>
              </a:rPr>
              <a:t>. </a:t>
            </a: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krátce po 10.5. 2021</a:t>
            </a:r>
            <a:r>
              <a:rPr lang="cs-CZ" sz="3200" b="1" dirty="0">
                <a:solidFill>
                  <a:srgbClr val="0000FF"/>
                </a:solidFill>
                <a:latin typeface="Calibri" panose="020F0502020204030204"/>
              </a:rPr>
              <a:t>. Celkovou situaci bude velmi ovlivňovat vývoj </a:t>
            </a: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v nejvíce zatížených krajích, resp. okresech. Ačkoli se rozdíly mezi regiony v čase zmenšují, jsou stále relativně vysoké a komplikují tak plošný postup v nastavování opatření při rozvolňování.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všech regionů klesá a rovněž pro další období lze očekávat pokles, který bude dále umocňován postupujícím 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99348" y="218246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8" y="610153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7092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389675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96428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96428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57600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5782825" y="2757913"/>
            <a:ext cx="59280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Při pokračujícím vývoji lze celorepublikově dosáhnout hranice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7denního počtu nově potvrzených případů 100/100tis. </a:t>
            </a:r>
            <a:r>
              <a:rPr kumimoji="0" lang="cs-CZ" sz="2000" b="1" i="0" u="none" strike="noStrike" kern="1200" cap="none" spc="0" normalizeH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byv</a:t>
            </a:r>
            <a:r>
              <a:rPr lang="cs-CZ" sz="2000" b="1" dirty="0">
                <a:solidFill>
                  <a:srgbClr val="0000FF"/>
                </a:solidFill>
                <a:latin typeface="Calibri" panose="020F0502020204030204"/>
              </a:rPr>
              <a:t>. mezi 9.5. až 14.5. 2021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70094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062475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významněj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</a:t>
            </a:r>
            <a:r>
              <a:rPr kumimoji="0" lang="cs-CZ" sz="2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liv očkování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92507" y="141162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/>
        </p:nvSpPr>
        <p:spPr>
          <a:xfrm>
            <a:off x="1831583" y="1542954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E8EB343B-FF9D-4901-9D18-93F29BAC246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2026069" y="2019626"/>
            <a:ext cx="0" cy="129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654407" y="1619642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852108" y="2085115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. a 2. třídách, přípravných třídách a  speciálních, mateřských školách a praktických školách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FF670A9-C78E-4ED3-A53F-0C6026BEF7F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765968" y="263676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6519273" y="222349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5215" y="613076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stování po 12.4. zastavilo pokles u dětí mladších než 11 let, nedochází ale k eskalaci a nárůst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903700" y="2763492"/>
            <a:ext cx="21170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postupný návrat nižších ročníků ZŠ, rotační systém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8962200" y="3477531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 flipV="1">
            <a:off x="1840209" y="5348377"/>
            <a:ext cx="8269949" cy="8627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141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605612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</a:t>
            </a:r>
            <a:r>
              <a:rPr lang="en-US" sz="2000" dirty="0">
                <a:latin typeface="+mn-lt"/>
              </a:rPr>
              <a:t>8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-11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497709" y="2546850"/>
            <a:ext cx="357421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kažených dětí ve věku 5 – 11 let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klesají ve všech regionech ČR. Zvýšenou hodnotu v přepočtu na 100 tis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ětí v této věkové třídě vykazují kraje Vysočina, Jihočeský, Zlínský a Ústecký.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4187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</a:t>
            </a:r>
            <a:r>
              <a:rPr lang="en-US" u="sng" dirty="0"/>
              <a:t>v </a:t>
            </a:r>
            <a:r>
              <a:rPr lang="en-US" u="sng" dirty="0" err="1"/>
              <a:t>okresech</a:t>
            </a:r>
            <a:endParaRPr lang="cs-CZ" u="sng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9804" y="30986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Picture 3" descr="Map&#10;&#10;Description automatically generated">
            <a:extLst>
              <a:ext uri="{FF2B5EF4-FFF2-40B4-BE49-F238E27FC236}">
                <a16:creationId xmlns:a16="http://schemas.microsoft.com/office/drawing/2014/main" id="{552BC8D4-27CE-4092-8897-D8E087733590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5" r="20396"/>
          <a:stretch/>
        </p:blipFill>
        <p:spPr>
          <a:xfrm>
            <a:off x="3726318" y="1207382"/>
            <a:ext cx="3472173" cy="2176655"/>
          </a:xfrm>
          <a:prstGeom prst="rect">
            <a:avLst/>
          </a:prstGeom>
        </p:spPr>
      </p:pic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pic>
        <p:nvPicPr>
          <p:cNvPr id="26" name="Picture 2" descr="Map&#10;&#10;Description automatically generated">
            <a:extLst>
              <a:ext uri="{FF2B5EF4-FFF2-40B4-BE49-F238E27FC236}">
                <a16:creationId xmlns:a16="http://schemas.microsoft.com/office/drawing/2014/main" id="{2BF8348F-2FD1-41EE-84CE-5378A7AF7240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7" r="10074"/>
          <a:stretch/>
        </p:blipFill>
        <p:spPr>
          <a:xfrm>
            <a:off x="66017" y="1255139"/>
            <a:ext cx="3476834" cy="2176655"/>
          </a:xfrm>
          <a:prstGeom prst="rect">
            <a:avLst/>
          </a:prstGeom>
        </p:spPr>
      </p:pic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12A884A8-D5AF-4D40-B54F-5F8ECA0140A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03" r="21226"/>
          <a:stretch/>
        </p:blipFill>
        <p:spPr>
          <a:xfrm>
            <a:off x="7205395" y="1271794"/>
            <a:ext cx="3379102" cy="2160000"/>
          </a:xfrm>
          <a:prstGeom prst="rect">
            <a:avLst/>
          </a:prstGeom>
        </p:spPr>
      </p:pic>
      <p:sp>
        <p:nvSpPr>
          <p:cNvPr id="2" name="TextovéPole 1"/>
          <p:cNvSpPr txBox="1"/>
          <p:nvPr/>
        </p:nvSpPr>
        <p:spPr>
          <a:xfrm>
            <a:off x="7297253" y="4101359"/>
            <a:ext cx="350615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kazují týden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počtu potvrzených případů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sahu cca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% </a:t>
            </a:r>
            <a:r>
              <a:rPr lang="cs-CZ" sz="2000" b="1" dirty="0">
                <a:solidFill>
                  <a:prstClr val="black"/>
                </a:solidFill>
              </a:rPr>
              <a:t>až – 20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C56F086-4004-4ECE-A273-2D25F22FD74E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447411" y="3824139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5.2021</a:t>
            </a: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0FA2F51A-4265-4711-9A3A-3BEEF349E93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3" r="10631"/>
          <a:stretch/>
        </p:blipFill>
        <p:spPr>
          <a:xfrm>
            <a:off x="66017" y="4428242"/>
            <a:ext cx="3370949" cy="2160000"/>
          </a:xfrm>
          <a:prstGeom prst="rect">
            <a:avLst/>
          </a:prstGeom>
        </p:spPr>
      </p:pic>
      <p:sp>
        <p:nvSpPr>
          <p:cNvPr id="28" name="TextBox 29">
            <a:extLst>
              <a:ext uri="{FF2B5EF4-FFF2-40B4-BE49-F238E27FC236}">
                <a16:creationId xmlns:a16="http://schemas.microsoft.com/office/drawing/2014/main" id="{D9DEB49F-E3DB-43A5-B728-CC4F0B2B59FB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075349" y="382136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8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7B8D49B6-AAF6-4C64-9CE5-21732F571F0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9" r="10433"/>
          <a:stretch/>
        </p:blipFill>
        <p:spPr>
          <a:xfrm>
            <a:off x="3726318" y="4371096"/>
            <a:ext cx="339822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576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0" y="1972805"/>
            <a:ext cx="11910383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rychleji epidemie zpomaluje v krajích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VK, KHK a PZK,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hranici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incidence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la Praha, dále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BK, PAK</a:t>
            </a: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, STČ . Nově je pod touto hranicí i kraj Olomoucký.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tailnějším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none" strike="noStrike" kern="1200" cap="none" spc="0" normalizeH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álování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patrné, že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ěkteré okresy již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ly </a:t>
            </a:r>
            <a:endParaRPr kumimoji="0" lang="cs-CZ" sz="3200" b="1" i="0" u="none" strike="noStrike" kern="1200" cap="none" spc="0" normalizeH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ci 7denního počtu potvrzených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padů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/100tis. obyv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</a:t>
            </a: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postupně </a:t>
            </a:r>
            <a:r>
              <a:rPr lang="cs-CZ" sz="4000" b="1" dirty="0" smtClean="0">
                <a:solidFill>
                  <a:prstClr val="black"/>
                </a:solidFill>
                <a:latin typeface="Calibri" panose="020F0502020204030204"/>
              </a:rPr>
              <a:t>zmenšují </a:t>
            </a: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</a:t>
            </a: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4000" b="1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3" y="372962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79336" y="596441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863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098672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 –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0</a:t>
            </a: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3DBBC5FB-25FD-4F7C-9593-FB03C44F69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09211" y="382373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4.202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830047" y="2918672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069803" y="2854784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&lt;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</a:t>
            </a: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242FD362-1BE1-449A-90F2-F2D73360B4D2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25421" y="1269000"/>
            <a:ext cx="3408594" cy="2160000"/>
          </a:xfrm>
          <a:prstGeom prst="rect">
            <a:avLst/>
          </a:prstGeom>
        </p:spPr>
      </p:pic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A098708D-3CF6-46C6-892B-DBE5B934C984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8" r="10138"/>
          <a:stretch/>
        </p:blipFill>
        <p:spPr>
          <a:xfrm>
            <a:off x="3493771" y="1277226"/>
            <a:ext cx="3411439" cy="2160000"/>
          </a:xfrm>
          <a:prstGeom prst="rect">
            <a:avLst/>
          </a:prstGeom>
        </p:spPr>
      </p:pic>
      <p:pic>
        <p:nvPicPr>
          <p:cNvPr id="36" name="Picture 35" descr="Map&#10;&#10;Description automatically generated">
            <a:extLst>
              <a:ext uri="{FF2B5EF4-FFF2-40B4-BE49-F238E27FC236}">
                <a16:creationId xmlns:a16="http://schemas.microsoft.com/office/drawing/2014/main" id="{A41A144F-BB34-4D14-A657-83516FD1140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8" r="10138"/>
          <a:stretch/>
        </p:blipFill>
        <p:spPr>
          <a:xfrm>
            <a:off x="7042943" y="1277226"/>
            <a:ext cx="3394368" cy="2160000"/>
          </a:xfrm>
          <a:prstGeom prst="rect">
            <a:avLst/>
          </a:prstGeom>
        </p:spPr>
      </p:pic>
      <p:pic>
        <p:nvPicPr>
          <p:cNvPr id="40" name="Picture 39" descr="Map&#10;&#10;Description automatically generated">
            <a:extLst>
              <a:ext uri="{FF2B5EF4-FFF2-40B4-BE49-F238E27FC236}">
                <a16:creationId xmlns:a16="http://schemas.microsoft.com/office/drawing/2014/main" id="{58C29F3E-6DC8-41AC-9E38-6D4C7B82EE2B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170333" y="4330643"/>
            <a:ext cx="3408594" cy="2160000"/>
          </a:xfrm>
          <a:prstGeom prst="rect">
            <a:avLst/>
          </a:prstGeom>
        </p:spPr>
      </p:pic>
      <p:sp>
        <p:nvSpPr>
          <p:cNvPr id="29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075349" y="382136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8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E213277F-41C0-418E-AACA-21A19B2FAF86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 rotWithShape="1"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0" r="9695"/>
          <a:stretch/>
        </p:blipFill>
        <p:spPr>
          <a:xfrm>
            <a:off x="3726318" y="4343832"/>
            <a:ext cx="3430977" cy="2160000"/>
          </a:xfrm>
          <a:prstGeom prst="rect">
            <a:avLst/>
          </a:prstGeom>
        </p:spPr>
      </p:pic>
      <p:sp>
        <p:nvSpPr>
          <p:cNvPr id="32" name="TextovéPole 31"/>
          <p:cNvSpPr txBox="1"/>
          <p:nvPr/>
        </p:nvSpPr>
        <p:spPr>
          <a:xfrm>
            <a:off x="7297253" y="4101359"/>
            <a:ext cx="350615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kazují týden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počtu potvrzených případů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sahu cca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% </a:t>
            </a:r>
            <a:r>
              <a:rPr lang="cs-CZ" sz="2000" b="1" dirty="0">
                <a:solidFill>
                  <a:prstClr val="black"/>
                </a:solidFill>
              </a:rPr>
              <a:t>až – 20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. </a:t>
            </a:r>
          </a:p>
        </p:txBody>
      </p:sp>
    </p:spTree>
    <p:extLst>
      <p:ext uri="{BB962C8B-B14F-4D97-AF65-F5344CB8AC3E}">
        <p14:creationId xmlns:p14="http://schemas.microsoft.com/office/powerpoint/2010/main" val="1743272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90</TotalTime>
  <Words>2363</Words>
  <Application>Microsoft Office PowerPoint</Application>
  <PresentationFormat>Širokoúhlá obrazovka</PresentationFormat>
  <Paragraphs>473</Paragraphs>
  <Slides>37</Slides>
  <Notes>11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37</vt:i4>
      </vt:variant>
    </vt:vector>
  </HeadingPairs>
  <TitlesOfParts>
    <vt:vector size="50" baseType="lpstr">
      <vt:lpstr>Calibri Light</vt:lpstr>
      <vt:lpstr>Arial</vt:lpstr>
      <vt:lpstr>Calibri</vt:lpstr>
      <vt:lpstr>Arial (Základní text)</vt:lpstr>
      <vt:lpstr>Times New Roman</vt:lpstr>
      <vt:lpstr>1_Motiv Office</vt:lpstr>
      <vt:lpstr>3_Motiv Office</vt:lpstr>
      <vt:lpstr>7_Motiv Office</vt:lpstr>
      <vt:lpstr>12_Motiv Office</vt:lpstr>
      <vt:lpstr>5_Motiv Office</vt:lpstr>
      <vt:lpstr>Motiv Office</vt:lpstr>
      <vt:lpstr>2_Motiv Office</vt:lpstr>
      <vt:lpstr>4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Počty COVID-19 pozitivních v ČR na 100 000 v populaci</vt:lpstr>
      <vt:lpstr>Nové případy za 7 dní na 100 000 obyvatel: srovnání krajů k 8.5.: 5-11 let</vt:lpstr>
      <vt:lpstr>7 denní počet nových případů (na 100 000 obyv.) v okresech</vt:lpstr>
      <vt:lpstr>Prezentace aplikace PowerPoint</vt:lpstr>
      <vt:lpstr>7 denní počet nových případů (na 100 000 obyv.) v okresech</vt:lpstr>
      <vt:lpstr>Datová a informační základna  pro management pandemie COVID-19</vt:lpstr>
      <vt:lpstr>Zátěž regionů ve vzájemném srovnání krajů k 9.5.</vt:lpstr>
      <vt:lpstr>Vybrané ukazatele – srovnání regionů</vt:lpstr>
      <vt:lpstr>Vybrané ukazatele – srovnání regionů</vt:lpstr>
      <vt:lpstr>R (zjednodušený výpočet) - 7 denní úseky: srovnání krajů k 9.5.</vt:lpstr>
      <vt:lpstr>Počty COVID-19 pozitivních na 100 000 v populaci v krajích a ČR</vt:lpstr>
      <vt:lpstr>Počty COVID-19 pozitivních na 100 000 v populaci v krajích a ČR</vt:lpstr>
      <vt:lpstr>Počty COVID-19 pozitivních na 100 000 v populaci v krajích a ČR</vt:lpstr>
      <vt:lpstr>Počty COVID-19 pozitivních na 100 000 v populaci v krajích a ČR</vt:lpstr>
      <vt:lpstr>Relativní pozitivita testů s diagnostickou/epidemiologickou indikací za 7 dní:  srovnání krajů k 8.5.</vt:lpstr>
      <vt:lpstr>Nově diagnostikovaní symptomatičtí pacienti za 7 dní na 100 000 obyvatel:  srovnání krajů k 8.5.</vt:lpstr>
      <vt:lpstr>Nové případy za 7 dní na 100 000 obyvatel: 20 okresů s nejvyššími hodnotami k 8.5.</vt:lpstr>
      <vt:lpstr>R a relativní pozitivita diagnostických a epidemiologických testů: 20 okresů s nejvyššími hodnotami k 8.5.</vt:lpstr>
      <vt:lpstr>Přehled okresů s poteniálně rizikovými epidemickými hodnotami</vt:lpstr>
      <vt:lpstr>Datová a informační základna  pro management pandemie COVID-19</vt:lpstr>
      <vt:lpstr>Počet provedených a vykázaných AG testů v ČR 1. 2. – 7. 5. 2021</vt:lpstr>
      <vt:lpstr>Počet provedených a vykázaných PCR testů v ČR 1. 2. – 7. 5. 2021</vt:lpstr>
      <vt:lpstr>Podíl pozitivních testů: diagnostické a klinické indikace </vt:lpstr>
      <vt:lpstr>Podíl pozitivních testů: epidemiologické indikace</vt:lpstr>
      <vt:lpstr>Počty testů dle indikace a účelu: 3. 5.–9. 5.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Modelové scénáře: 7denní hodnoty na 100 tisíc obyvate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743</cp:revision>
  <dcterms:created xsi:type="dcterms:W3CDTF">2020-11-11T17:36:28Z</dcterms:created>
  <dcterms:modified xsi:type="dcterms:W3CDTF">2021-05-10T20:32:43Z</dcterms:modified>
</cp:coreProperties>
</file>